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media/image22.jpg" ContentType="image/jpg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32"/>
  </p:notesMasterIdLst>
  <p:handoutMasterIdLst>
    <p:handoutMasterId r:id="rId33"/>
  </p:handoutMasterIdLst>
  <p:sldIdLst>
    <p:sldId id="141169004" r:id="rId6"/>
    <p:sldId id="141169013" r:id="rId7"/>
    <p:sldId id="141169018" r:id="rId8"/>
    <p:sldId id="141169016" r:id="rId9"/>
    <p:sldId id="141169015" r:id="rId10"/>
    <p:sldId id="141169014" r:id="rId11"/>
    <p:sldId id="141169012" r:id="rId12"/>
    <p:sldId id="141169011" r:id="rId13"/>
    <p:sldId id="141169006" r:id="rId14"/>
    <p:sldId id="141169028" r:id="rId15"/>
    <p:sldId id="141169029" r:id="rId16"/>
    <p:sldId id="141169030" r:id="rId17"/>
    <p:sldId id="141169031" r:id="rId18"/>
    <p:sldId id="141169032" r:id="rId19"/>
    <p:sldId id="141169022" r:id="rId20"/>
    <p:sldId id="141169021" r:id="rId21"/>
    <p:sldId id="141169033" r:id="rId22"/>
    <p:sldId id="141169034" r:id="rId23"/>
    <p:sldId id="141169035" r:id="rId24"/>
    <p:sldId id="141169036" r:id="rId25"/>
    <p:sldId id="141169037" r:id="rId26"/>
    <p:sldId id="141169009" r:id="rId27"/>
    <p:sldId id="141169008" r:id="rId28"/>
    <p:sldId id="141169019" r:id="rId29"/>
    <p:sldId id="141169005" r:id="rId30"/>
    <p:sldId id="141169007" r:id="rId3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4C34E0F-5620-2344-A365-E694004D8CCE}">
          <p14:sldIdLst>
            <p14:sldId id="141169004"/>
            <p14:sldId id="141169013"/>
            <p14:sldId id="141169018"/>
            <p14:sldId id="141169016"/>
            <p14:sldId id="141169015"/>
            <p14:sldId id="141169014"/>
            <p14:sldId id="141169012"/>
            <p14:sldId id="141169011"/>
            <p14:sldId id="141169006"/>
            <p14:sldId id="141169028"/>
            <p14:sldId id="141169029"/>
            <p14:sldId id="141169030"/>
            <p14:sldId id="141169031"/>
            <p14:sldId id="141169032"/>
            <p14:sldId id="141169022"/>
            <p14:sldId id="141169021"/>
            <p14:sldId id="141169033"/>
            <p14:sldId id="141169034"/>
            <p14:sldId id="141169035"/>
            <p14:sldId id="141169036"/>
            <p14:sldId id="141169037"/>
            <p14:sldId id="141169009"/>
            <p14:sldId id="141169008"/>
            <p14:sldId id="141169019"/>
            <p14:sldId id="141169005"/>
            <p14:sldId id="141169007"/>
          </p14:sldIdLst>
        </p14:section>
      </p14:sectionLst>
    </p:ext>
    <p:ext uri="{EFAFB233-063F-42B5-8137-9DF3F51BA10A}">
      <p15:sldGuideLst xmlns:p15="http://schemas.microsoft.com/office/powerpoint/2012/main">
        <p15:guide id="1" pos="1708" userDrawn="1">
          <p15:clr>
            <a:srgbClr val="A4A3A4"/>
          </p15:clr>
        </p15:guide>
        <p15:guide id="2" pos="3182" userDrawn="1">
          <p15:clr>
            <a:srgbClr val="A4A3A4"/>
          </p15:clr>
        </p15:guide>
        <p15:guide id="3" orient="horz" pos="981" userDrawn="1">
          <p15:clr>
            <a:srgbClr val="A4A3A4"/>
          </p15:clr>
        </p15:guide>
        <p15:guide id="4" orient="horz" pos="2260" userDrawn="1">
          <p15:clr>
            <a:srgbClr val="A4A3A4"/>
          </p15:clr>
        </p15:guide>
        <p15:guide id="5" pos="45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300D11-36B5-258B-A884-1073F6859F11}" name="Barbara Dubach" initials="BD" userId="32373b33cffe7206" providerId="Windows Live"/>
  <p188:author id="{DCB7373E-AFE0-E820-D9EB-9DA30B06C78E}" name="Leyser Nadine" initials="LN" userId="S::nadine.leyser@snf.ch::f10963a5-12d4-45c6-9a96-68d3d8539308" providerId="AD"/>
  <p188:author id="{19A721F4-CE75-1D19-47F6-1D75910D8890}" name="Sille Irina" initials="SI" userId="S::irina.sille@snf.ch::b88aecf6-1619-4b14-ab4e-dd41418da89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A32C"/>
    <a:srgbClr val="D28D0C"/>
    <a:srgbClr val="EC640F"/>
    <a:srgbClr val="F59C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F25A9B-829E-4E83-9CC3-8EFCFF3921ED}" v="305" dt="2026-02-09T16:22:59.717"/>
  </p1510:revLst>
</p1510:revInfo>
</file>

<file path=ppt/tableStyles.xml><?xml version="1.0" encoding="utf-8"?>
<a:tblStyleLst xmlns:a="http://schemas.openxmlformats.org/drawingml/2006/main" def="{CA20E951-F767-40FB-8981-BDCADE0C3650}">
  <a:tblStyle styleId="{CA20E951-F767-40FB-8981-BDCADE0C3650}" styleName="SNF">
    <a:wholeTbl>
      <a:tcTxStyle>
        <a:fontRef idx="minor">
          <a:prstClr val="black"/>
        </a:fontRef>
        <a:srgbClr val="000000"/>
      </a:tcTxStyle>
      <a:tcStyle>
        <a:tcBdr>
          <a:left>
            <a:ln w="0" cmpd="sng">
              <a:solidFill>
                <a:srgbClr val="000000"/>
              </a:solidFill>
            </a:ln>
          </a:left>
          <a:right>
            <a:ln w="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wholeTbl>
    <a:lastCol>
      <a:tcTxStyle i="off">
        <a:fontRef idx="minor"/>
        <a:srgbClr val="000000"/>
      </a:tcTxStyle>
      <a:tcStyle>
        <a:tcBdr/>
        <a:fill>
          <a:solidFill>
            <a:srgbClr val="FFFFFF"/>
          </a:solidFill>
        </a:fill>
      </a:tcStyle>
    </a:lastCol>
    <a:firstCol>
      <a:tcTxStyle i="off">
        <a:fontRef idx="major"/>
        <a:srgbClr val="000000"/>
      </a:tcTxStyle>
      <a:tcStyle>
        <a:tcBdr/>
        <a:fill>
          <a:solidFill>
            <a:srgbClr val="FFFFFF"/>
          </a:solidFill>
        </a:fill>
      </a:tcStyle>
    </a:firstCol>
    <a:lastRow>
      <a:tcTxStyle b="on">
        <a:fontRef idx="major"/>
        <a:srgbClr val="FFFFFF"/>
      </a:tcTxStyle>
      <a:tcStyle>
        <a:tcBdr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</a:tcBdr>
        <a:fill>
          <a:solidFill>
            <a:srgbClr val="C95B40"/>
          </a:solidFill>
        </a:fill>
      </a:tcStyle>
    </a:lastRow>
    <a:firstRow>
      <a:tcTxStyle b="on">
        <a:fontRef idx="major"/>
        <a:srgbClr val="000000"/>
      </a:tcTxStyle>
      <a:tcStyle>
        <a:tcBdr/>
        <a:fill>
          <a:solidFill>
            <a:srgbClr val="FFFFFF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64" autoAdjust="0"/>
    <p:restoredTop sz="97020" autoAdjust="0"/>
  </p:normalViewPr>
  <p:slideViewPr>
    <p:cSldViewPr snapToGrid="0" snapToObjects="1" showGuides="1">
      <p:cViewPr varScale="1">
        <p:scale>
          <a:sx n="66" d="100"/>
          <a:sy n="66" d="100"/>
        </p:scale>
        <p:origin x="916" y="272"/>
      </p:cViewPr>
      <p:guideLst>
        <p:guide pos="1708"/>
        <p:guide pos="3182"/>
        <p:guide orient="horz" pos="981"/>
        <p:guide orient="horz" pos="2260"/>
        <p:guide pos="452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48" d="100"/>
        <a:sy n="148" d="100"/>
      </p:scale>
      <p:origin x="0" y="0"/>
    </p:cViewPr>
  </p:sorterViewPr>
  <p:notesViewPr>
    <p:cSldViewPr snapToGrid="0" snapToObjects="1" showGuides="1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40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scha Theiler" userId="a0f496a5-efc4-4b52-959d-5e95987cae8c" providerId="ADAL" clId="{46BE184E-840E-48D3-B624-C448522A216F}"/>
    <pc:docChg chg="undo redo custSel addSld delSld modSld modSection">
      <pc:chgData name="Mascha Theiler" userId="a0f496a5-efc4-4b52-959d-5e95987cae8c" providerId="ADAL" clId="{46BE184E-840E-48D3-B624-C448522A216F}" dt="2026-02-09T16:23:26.884" v="1914" actId="1076"/>
      <pc:docMkLst>
        <pc:docMk/>
      </pc:docMkLst>
      <pc:sldChg chg="addSp modSp mod">
        <pc:chgData name="Mascha Theiler" userId="a0f496a5-efc4-4b52-959d-5e95987cae8c" providerId="ADAL" clId="{46BE184E-840E-48D3-B624-C448522A216F}" dt="2026-02-09T13:53:06.879" v="4" actId="113"/>
        <pc:sldMkLst>
          <pc:docMk/>
          <pc:sldMk cId="212893902" sldId="141169004"/>
        </pc:sldMkLst>
        <pc:spChg chg="mod">
          <ac:chgData name="Mascha Theiler" userId="a0f496a5-efc4-4b52-959d-5e95987cae8c" providerId="ADAL" clId="{46BE184E-840E-48D3-B624-C448522A216F}" dt="2026-02-09T13:53:06.879" v="4" actId="113"/>
          <ac:spMkLst>
            <pc:docMk/>
            <pc:sldMk cId="212893902" sldId="141169004"/>
            <ac:spMk id="3" creationId="{DBBC741F-F36E-AFA0-3CD1-CD890CC4089C}"/>
          </ac:spMkLst>
        </pc:spChg>
        <pc:spChg chg="mod">
          <ac:chgData name="Mascha Theiler" userId="a0f496a5-efc4-4b52-959d-5e95987cae8c" providerId="ADAL" clId="{46BE184E-840E-48D3-B624-C448522A216F}" dt="2026-02-09T13:52:41.187" v="1"/>
          <ac:spMkLst>
            <pc:docMk/>
            <pc:sldMk cId="212893902" sldId="141169004"/>
            <ac:spMk id="5" creationId="{CC410DC2-7478-767E-6704-A9ADE8F66B15}"/>
          </ac:spMkLst>
        </pc:spChg>
        <pc:picChg chg="add mod">
          <ac:chgData name="Mascha Theiler" userId="a0f496a5-efc4-4b52-959d-5e95987cae8c" providerId="ADAL" clId="{46BE184E-840E-48D3-B624-C448522A216F}" dt="2026-02-09T13:52:27.901" v="0"/>
          <ac:picMkLst>
            <pc:docMk/>
            <pc:sldMk cId="212893902" sldId="141169004"/>
            <ac:picMk id="2" creationId="{E8CA6599-9A73-60AA-40A5-6CF26AEDAA36}"/>
          </ac:picMkLst>
        </pc:picChg>
        <pc:picChg chg="add mod">
          <ac:chgData name="Mascha Theiler" userId="a0f496a5-efc4-4b52-959d-5e95987cae8c" providerId="ADAL" clId="{46BE184E-840E-48D3-B624-C448522A216F}" dt="2026-02-09T13:52:44.224" v="2"/>
          <ac:picMkLst>
            <pc:docMk/>
            <pc:sldMk cId="212893902" sldId="141169004"/>
            <ac:picMk id="4" creationId="{FBAE9916-F0A5-2FC5-52F1-3B2743D9E87B}"/>
          </ac:picMkLst>
        </pc:picChg>
      </pc:sldChg>
      <pc:sldChg chg="modSp mod">
        <pc:chgData name="Mascha Theiler" userId="a0f496a5-efc4-4b52-959d-5e95987cae8c" providerId="ADAL" clId="{46BE184E-840E-48D3-B624-C448522A216F}" dt="2026-02-09T14:49:33.377" v="1134" actId="12"/>
        <pc:sldMkLst>
          <pc:docMk/>
          <pc:sldMk cId="806316510" sldId="141169005"/>
        </pc:sldMkLst>
        <pc:spChg chg="mod">
          <ac:chgData name="Mascha Theiler" userId="a0f496a5-efc4-4b52-959d-5e95987cae8c" providerId="ADAL" clId="{46BE184E-840E-48D3-B624-C448522A216F}" dt="2026-02-09T14:49:17.904" v="1113"/>
          <ac:spMkLst>
            <pc:docMk/>
            <pc:sldMk cId="806316510" sldId="141169005"/>
            <ac:spMk id="2" creationId="{C7CFFD2A-3290-0E0C-33BD-371696BE2862}"/>
          </ac:spMkLst>
        </pc:spChg>
        <pc:spChg chg="mod">
          <ac:chgData name="Mascha Theiler" userId="a0f496a5-efc4-4b52-959d-5e95987cae8c" providerId="ADAL" clId="{46BE184E-840E-48D3-B624-C448522A216F}" dt="2026-02-09T14:49:33.377" v="1134" actId="12"/>
          <ac:spMkLst>
            <pc:docMk/>
            <pc:sldMk cId="806316510" sldId="141169005"/>
            <ac:spMk id="3" creationId="{6B84C24E-A26E-1008-29AE-2AC4F565872B}"/>
          </ac:spMkLst>
        </pc:spChg>
        <pc:spChg chg="mod">
          <ac:chgData name="Mascha Theiler" userId="a0f496a5-efc4-4b52-959d-5e95987cae8c" providerId="ADAL" clId="{46BE184E-840E-48D3-B624-C448522A216F}" dt="2026-02-09T14:49:22.674" v="1132" actId="20577"/>
          <ac:spMkLst>
            <pc:docMk/>
            <pc:sldMk cId="806316510" sldId="141169005"/>
            <ac:spMk id="5" creationId="{9385D502-DD55-F03A-83BC-702479766347}"/>
          </ac:spMkLst>
        </pc:spChg>
      </pc:sldChg>
      <pc:sldChg chg="modSp mod">
        <pc:chgData name="Mascha Theiler" userId="a0f496a5-efc4-4b52-959d-5e95987cae8c" providerId="ADAL" clId="{46BE184E-840E-48D3-B624-C448522A216F}" dt="2026-02-09T14:15:09.265" v="688" actId="108"/>
        <pc:sldMkLst>
          <pc:docMk/>
          <pc:sldMk cId="1352338648" sldId="141169006"/>
        </pc:sldMkLst>
        <pc:spChg chg="mod">
          <ac:chgData name="Mascha Theiler" userId="a0f496a5-efc4-4b52-959d-5e95987cae8c" providerId="ADAL" clId="{46BE184E-840E-48D3-B624-C448522A216F}" dt="2026-02-09T14:12:23.845" v="556" actId="20577"/>
          <ac:spMkLst>
            <pc:docMk/>
            <pc:sldMk cId="1352338648" sldId="141169006"/>
            <ac:spMk id="2" creationId="{5963B92A-A274-391A-3FA1-29D1D7D94E15}"/>
          </ac:spMkLst>
        </pc:spChg>
        <pc:spChg chg="mod">
          <ac:chgData name="Mascha Theiler" userId="a0f496a5-efc4-4b52-959d-5e95987cae8c" providerId="ADAL" clId="{46BE184E-840E-48D3-B624-C448522A216F}" dt="2026-02-09T14:15:09.265" v="688" actId="108"/>
          <ac:spMkLst>
            <pc:docMk/>
            <pc:sldMk cId="1352338648" sldId="141169006"/>
            <ac:spMk id="3" creationId="{78F2B0C8-6B5B-7939-A1A3-AD9A0F6A3AAE}"/>
          </ac:spMkLst>
        </pc:spChg>
        <pc:spChg chg="mod">
          <ac:chgData name="Mascha Theiler" userId="a0f496a5-efc4-4b52-959d-5e95987cae8c" providerId="ADAL" clId="{46BE184E-840E-48D3-B624-C448522A216F}" dt="2026-02-09T14:13:26.903" v="624" actId="20577"/>
          <ac:spMkLst>
            <pc:docMk/>
            <pc:sldMk cId="1352338648" sldId="141169006"/>
            <ac:spMk id="5" creationId="{37C62475-C75C-C10F-830F-21D6A6AF8596}"/>
          </ac:spMkLst>
        </pc:spChg>
      </pc:sldChg>
      <pc:sldChg chg="modSp mod">
        <pc:chgData name="Mascha Theiler" userId="a0f496a5-efc4-4b52-959d-5e95987cae8c" providerId="ADAL" clId="{46BE184E-840E-48D3-B624-C448522A216F}" dt="2026-02-09T14:50:18.666" v="1157"/>
        <pc:sldMkLst>
          <pc:docMk/>
          <pc:sldMk cId="1631104640" sldId="141169007"/>
        </pc:sldMkLst>
        <pc:spChg chg="mod">
          <ac:chgData name="Mascha Theiler" userId="a0f496a5-efc4-4b52-959d-5e95987cae8c" providerId="ADAL" clId="{46BE184E-840E-48D3-B624-C448522A216F}" dt="2026-02-09T14:50:18.666" v="1157"/>
          <ac:spMkLst>
            <pc:docMk/>
            <pc:sldMk cId="1631104640" sldId="141169007"/>
            <ac:spMk id="2" creationId="{5DF1DF01-7253-5EBE-A127-EEA0E1CB73FC}"/>
          </ac:spMkLst>
        </pc:spChg>
        <pc:spChg chg="mod">
          <ac:chgData name="Mascha Theiler" userId="a0f496a5-efc4-4b52-959d-5e95987cae8c" providerId="ADAL" clId="{46BE184E-840E-48D3-B624-C448522A216F}" dt="2026-02-09T14:49:44.871" v="1137" actId="113"/>
          <ac:spMkLst>
            <pc:docMk/>
            <pc:sldMk cId="1631104640" sldId="141169007"/>
            <ac:spMk id="3" creationId="{E47E1585-A18C-D362-EBDE-7964974C99B3}"/>
          </ac:spMkLst>
        </pc:spChg>
        <pc:spChg chg="mod">
          <ac:chgData name="Mascha Theiler" userId="a0f496a5-efc4-4b52-959d-5e95987cae8c" providerId="ADAL" clId="{46BE184E-840E-48D3-B624-C448522A216F}" dt="2026-02-09T14:50:07.181" v="1156" actId="20577"/>
          <ac:spMkLst>
            <pc:docMk/>
            <pc:sldMk cId="1631104640" sldId="141169007"/>
            <ac:spMk id="5" creationId="{4AE3D8A9-7D80-96BD-094B-972A478159EF}"/>
          </ac:spMkLst>
        </pc:spChg>
      </pc:sldChg>
      <pc:sldChg chg="modSp mod">
        <pc:chgData name="Mascha Theiler" userId="a0f496a5-efc4-4b52-959d-5e95987cae8c" providerId="ADAL" clId="{46BE184E-840E-48D3-B624-C448522A216F}" dt="2026-02-09T14:48:48.288" v="1086" actId="20577"/>
        <pc:sldMkLst>
          <pc:docMk/>
          <pc:sldMk cId="3272722806" sldId="141169008"/>
        </pc:sldMkLst>
        <pc:spChg chg="mod">
          <ac:chgData name="Mascha Theiler" userId="a0f496a5-efc4-4b52-959d-5e95987cae8c" providerId="ADAL" clId="{46BE184E-840E-48D3-B624-C448522A216F}" dt="2026-02-09T14:48:42.300" v="1065"/>
          <ac:spMkLst>
            <pc:docMk/>
            <pc:sldMk cId="3272722806" sldId="141169008"/>
            <ac:spMk id="2" creationId="{ECFCEDCD-DE5B-D060-6C03-CC7A1E1A7A29}"/>
          </ac:spMkLst>
        </pc:spChg>
        <pc:spChg chg="mod">
          <ac:chgData name="Mascha Theiler" userId="a0f496a5-efc4-4b52-959d-5e95987cae8c" providerId="ADAL" clId="{46BE184E-840E-48D3-B624-C448522A216F}" dt="2026-02-09T14:48:48.288" v="1086" actId="20577"/>
          <ac:spMkLst>
            <pc:docMk/>
            <pc:sldMk cId="3272722806" sldId="141169008"/>
            <ac:spMk id="5" creationId="{0B058973-BE94-6C33-CAC8-171B308BF357}"/>
          </ac:spMkLst>
        </pc:spChg>
      </pc:sldChg>
      <pc:sldChg chg="modSp mod">
        <pc:chgData name="Mascha Theiler" userId="a0f496a5-efc4-4b52-959d-5e95987cae8c" providerId="ADAL" clId="{46BE184E-840E-48D3-B624-C448522A216F}" dt="2026-02-09T14:52:12.160" v="1191" actId="20577"/>
        <pc:sldMkLst>
          <pc:docMk/>
          <pc:sldMk cId="3989882371" sldId="141169009"/>
        </pc:sldMkLst>
        <pc:spChg chg="mod">
          <ac:chgData name="Mascha Theiler" userId="a0f496a5-efc4-4b52-959d-5e95987cae8c" providerId="ADAL" clId="{46BE184E-840E-48D3-B624-C448522A216F}" dt="2026-02-09T14:50:32.297" v="1158"/>
          <ac:spMkLst>
            <pc:docMk/>
            <pc:sldMk cId="3989882371" sldId="141169009"/>
            <ac:spMk id="2" creationId="{97374FCA-C95A-8B35-75FE-CA1FD25336B6}"/>
          </ac:spMkLst>
        </pc:spChg>
        <pc:spChg chg="mod">
          <ac:chgData name="Mascha Theiler" userId="a0f496a5-efc4-4b52-959d-5e95987cae8c" providerId="ADAL" clId="{46BE184E-840E-48D3-B624-C448522A216F}" dt="2026-02-09T14:52:05.875" v="1172" actId="20577"/>
          <ac:spMkLst>
            <pc:docMk/>
            <pc:sldMk cId="3989882371" sldId="141169009"/>
            <ac:spMk id="3" creationId="{03920B92-2D1F-BF6D-82B0-B2635C50A8F6}"/>
          </ac:spMkLst>
        </pc:spChg>
        <pc:spChg chg="mod">
          <ac:chgData name="Mascha Theiler" userId="a0f496a5-efc4-4b52-959d-5e95987cae8c" providerId="ADAL" clId="{46BE184E-840E-48D3-B624-C448522A216F}" dt="2026-02-09T14:52:12.160" v="1191" actId="20577"/>
          <ac:spMkLst>
            <pc:docMk/>
            <pc:sldMk cId="3989882371" sldId="141169009"/>
            <ac:spMk id="5" creationId="{C0382885-ED17-380D-05A5-D5E665C8636A}"/>
          </ac:spMkLst>
        </pc:spChg>
      </pc:sldChg>
      <pc:sldChg chg="modSp mod">
        <pc:chgData name="Mascha Theiler" userId="a0f496a5-efc4-4b52-959d-5e95987cae8c" providerId="ADAL" clId="{46BE184E-840E-48D3-B624-C448522A216F}" dt="2026-02-09T14:12:12.897" v="541" actId="113"/>
        <pc:sldMkLst>
          <pc:docMk/>
          <pc:sldMk cId="1744592103" sldId="141169011"/>
        </pc:sldMkLst>
        <pc:spChg chg="mod">
          <ac:chgData name="Mascha Theiler" userId="a0f496a5-efc4-4b52-959d-5e95987cae8c" providerId="ADAL" clId="{46BE184E-840E-48D3-B624-C448522A216F}" dt="2026-02-09T14:12:12.897" v="541" actId="113"/>
          <ac:spMkLst>
            <pc:docMk/>
            <pc:sldMk cId="1744592103" sldId="141169011"/>
            <ac:spMk id="2" creationId="{BF3D0F9A-EF92-E67A-7DE9-06859EB206C7}"/>
          </ac:spMkLst>
        </pc:spChg>
        <pc:spChg chg="mod">
          <ac:chgData name="Mascha Theiler" userId="a0f496a5-efc4-4b52-959d-5e95987cae8c" providerId="ADAL" clId="{46BE184E-840E-48D3-B624-C448522A216F}" dt="2026-02-09T14:12:09.775" v="539" actId="113"/>
          <ac:spMkLst>
            <pc:docMk/>
            <pc:sldMk cId="1744592103" sldId="141169011"/>
            <ac:spMk id="3" creationId="{FBEC2812-1438-09C8-B7AC-452C8E3708F5}"/>
          </ac:spMkLst>
        </pc:spChg>
        <pc:spChg chg="mod">
          <ac:chgData name="Mascha Theiler" userId="a0f496a5-efc4-4b52-959d-5e95987cae8c" providerId="ADAL" clId="{46BE184E-840E-48D3-B624-C448522A216F}" dt="2026-02-09T14:10:19.297" v="521" actId="20577"/>
          <ac:spMkLst>
            <pc:docMk/>
            <pc:sldMk cId="1744592103" sldId="141169011"/>
            <ac:spMk id="5" creationId="{3E04C794-D213-7E6E-3E65-83C8D4C8722C}"/>
          </ac:spMkLst>
        </pc:spChg>
      </pc:sldChg>
      <pc:sldChg chg="modSp mod">
        <pc:chgData name="Mascha Theiler" userId="a0f496a5-efc4-4b52-959d-5e95987cae8c" providerId="ADAL" clId="{46BE184E-840E-48D3-B624-C448522A216F}" dt="2026-02-09T14:10:09.575" v="502"/>
        <pc:sldMkLst>
          <pc:docMk/>
          <pc:sldMk cId="741183918" sldId="141169012"/>
        </pc:sldMkLst>
        <pc:spChg chg="mod">
          <ac:chgData name="Mascha Theiler" userId="a0f496a5-efc4-4b52-959d-5e95987cae8c" providerId="ADAL" clId="{46BE184E-840E-48D3-B624-C448522A216F}" dt="2026-02-09T14:10:09.575" v="502"/>
          <ac:spMkLst>
            <pc:docMk/>
            <pc:sldMk cId="741183918" sldId="141169012"/>
            <ac:spMk id="2" creationId="{44DDADF5-A384-E805-D55F-2EAF627D0934}"/>
          </ac:spMkLst>
        </pc:spChg>
        <pc:spChg chg="mod">
          <ac:chgData name="Mascha Theiler" userId="a0f496a5-efc4-4b52-959d-5e95987cae8c" providerId="ADAL" clId="{46BE184E-840E-48D3-B624-C448522A216F}" dt="2026-02-09T14:09:54.786" v="501" actId="20577"/>
          <ac:spMkLst>
            <pc:docMk/>
            <pc:sldMk cId="741183918" sldId="141169012"/>
            <ac:spMk id="3" creationId="{6C6A02F9-5689-F798-E8F4-24F2AFE22EAC}"/>
          </ac:spMkLst>
        </pc:spChg>
        <pc:spChg chg="mod">
          <ac:chgData name="Mascha Theiler" userId="a0f496a5-efc4-4b52-959d-5e95987cae8c" providerId="ADAL" clId="{46BE184E-840E-48D3-B624-C448522A216F}" dt="2026-02-09T14:09:30.816" v="497" actId="20577"/>
          <ac:spMkLst>
            <pc:docMk/>
            <pc:sldMk cId="741183918" sldId="141169012"/>
            <ac:spMk id="5" creationId="{50C70217-1BC1-C4DF-3DCE-06D3D5E4F599}"/>
          </ac:spMkLst>
        </pc:spChg>
      </pc:sldChg>
      <pc:sldChg chg="modSp mod">
        <pc:chgData name="Mascha Theiler" userId="a0f496a5-efc4-4b52-959d-5e95987cae8c" providerId="ADAL" clId="{46BE184E-840E-48D3-B624-C448522A216F}" dt="2026-02-09T14:01:52.706" v="311" actId="20577"/>
        <pc:sldMkLst>
          <pc:docMk/>
          <pc:sldMk cId="3171159530" sldId="141169013"/>
        </pc:sldMkLst>
        <pc:spChg chg="mod">
          <ac:chgData name="Mascha Theiler" userId="a0f496a5-efc4-4b52-959d-5e95987cae8c" providerId="ADAL" clId="{46BE184E-840E-48D3-B624-C448522A216F}" dt="2026-02-09T13:53:16.902" v="12" actId="113"/>
          <ac:spMkLst>
            <pc:docMk/>
            <pc:sldMk cId="3171159530" sldId="141169013"/>
            <ac:spMk id="2" creationId="{C3945439-1C16-BCB2-4C79-260618DAD0B2}"/>
          </ac:spMkLst>
        </pc:spChg>
        <pc:spChg chg="mod">
          <ac:chgData name="Mascha Theiler" userId="a0f496a5-efc4-4b52-959d-5e95987cae8c" providerId="ADAL" clId="{46BE184E-840E-48D3-B624-C448522A216F}" dt="2026-02-09T14:01:52.706" v="311" actId="20577"/>
          <ac:spMkLst>
            <pc:docMk/>
            <pc:sldMk cId="3171159530" sldId="141169013"/>
            <ac:spMk id="3" creationId="{C21A7579-B93C-DD18-A750-BECCE46D9BF0}"/>
          </ac:spMkLst>
        </pc:spChg>
        <pc:spChg chg="mod">
          <ac:chgData name="Mascha Theiler" userId="a0f496a5-efc4-4b52-959d-5e95987cae8c" providerId="ADAL" clId="{46BE184E-840E-48D3-B624-C448522A216F}" dt="2026-02-09T13:53:23.539" v="31" actId="20577"/>
          <ac:spMkLst>
            <pc:docMk/>
            <pc:sldMk cId="3171159530" sldId="141169013"/>
            <ac:spMk id="5" creationId="{AA542CC3-E793-79D5-118B-B5A042425988}"/>
          </ac:spMkLst>
        </pc:spChg>
      </pc:sldChg>
      <pc:sldChg chg="modSp mod">
        <pc:chgData name="Mascha Theiler" userId="a0f496a5-efc4-4b52-959d-5e95987cae8c" providerId="ADAL" clId="{46BE184E-840E-48D3-B624-C448522A216F}" dt="2026-02-09T14:09:23.267" v="478" actId="20577"/>
        <pc:sldMkLst>
          <pc:docMk/>
          <pc:sldMk cId="1358235853" sldId="141169014"/>
        </pc:sldMkLst>
        <pc:spChg chg="mod">
          <ac:chgData name="Mascha Theiler" userId="a0f496a5-efc4-4b52-959d-5e95987cae8c" providerId="ADAL" clId="{46BE184E-840E-48D3-B624-C448522A216F}" dt="2026-02-09T14:06:35.592" v="452"/>
          <ac:spMkLst>
            <pc:docMk/>
            <pc:sldMk cId="1358235853" sldId="141169014"/>
            <ac:spMk id="2" creationId="{B59007A2-46F9-EA65-CDA8-BBCD7F4BB3E4}"/>
          </ac:spMkLst>
        </pc:spChg>
        <pc:spChg chg="mod">
          <ac:chgData name="Mascha Theiler" userId="a0f496a5-efc4-4b52-959d-5e95987cae8c" providerId="ADAL" clId="{46BE184E-840E-48D3-B624-C448522A216F}" dt="2026-02-09T14:09:23.267" v="478" actId="20577"/>
          <ac:spMkLst>
            <pc:docMk/>
            <pc:sldMk cId="1358235853" sldId="141169014"/>
            <ac:spMk id="3" creationId="{2CBDD328-1C4A-DD6E-8EA3-64F054640B9F}"/>
          </ac:spMkLst>
        </pc:spChg>
        <pc:spChg chg="mod">
          <ac:chgData name="Mascha Theiler" userId="a0f496a5-efc4-4b52-959d-5e95987cae8c" providerId="ADAL" clId="{46BE184E-840E-48D3-B624-C448522A216F}" dt="2026-02-09T14:06:21.373" v="451" actId="20577"/>
          <ac:spMkLst>
            <pc:docMk/>
            <pc:sldMk cId="1358235853" sldId="141169014"/>
            <ac:spMk id="5" creationId="{52AD0755-CDBD-5076-9930-4CBF2FAE3031}"/>
          </ac:spMkLst>
        </pc:spChg>
      </pc:sldChg>
      <pc:sldChg chg="addSp delSp modSp mod">
        <pc:chgData name="Mascha Theiler" userId="a0f496a5-efc4-4b52-959d-5e95987cae8c" providerId="ADAL" clId="{46BE184E-840E-48D3-B624-C448522A216F}" dt="2026-02-09T13:57:27.845" v="256"/>
        <pc:sldMkLst>
          <pc:docMk/>
          <pc:sldMk cId="1155642287" sldId="141169015"/>
        </pc:sldMkLst>
        <pc:spChg chg="mod">
          <ac:chgData name="Mascha Theiler" userId="a0f496a5-efc4-4b52-959d-5e95987cae8c" providerId="ADAL" clId="{46BE184E-840E-48D3-B624-C448522A216F}" dt="2026-02-09T13:57:27.845" v="256"/>
          <ac:spMkLst>
            <pc:docMk/>
            <pc:sldMk cId="1155642287" sldId="141169015"/>
            <ac:spMk id="2" creationId="{5E3A953B-6A93-D5AC-34E4-BCFB6FEF7CA6}"/>
          </ac:spMkLst>
        </pc:spChg>
        <pc:spChg chg="mod">
          <ac:chgData name="Mascha Theiler" userId="a0f496a5-efc4-4b52-959d-5e95987cae8c" providerId="ADAL" clId="{46BE184E-840E-48D3-B624-C448522A216F}" dt="2026-02-09T13:53:46.183" v="102" actId="20577"/>
          <ac:spMkLst>
            <pc:docMk/>
            <pc:sldMk cId="1155642287" sldId="141169015"/>
            <ac:spMk id="5" creationId="{F0E250FD-73CD-1BD1-5815-C525C4B0DDE7}"/>
          </ac:spMkLst>
        </pc:spChg>
        <pc:spChg chg="mod">
          <ac:chgData name="Mascha Theiler" userId="a0f496a5-efc4-4b52-959d-5e95987cae8c" providerId="ADAL" clId="{46BE184E-840E-48D3-B624-C448522A216F}" dt="2026-02-09T13:53:54.309" v="103"/>
          <ac:spMkLst>
            <pc:docMk/>
            <pc:sldMk cId="1155642287" sldId="141169015"/>
            <ac:spMk id="7" creationId="{60B7567D-3D21-F2B5-A262-C68B78E9E9E1}"/>
          </ac:spMkLst>
        </pc:spChg>
        <pc:spChg chg="add">
          <ac:chgData name="Mascha Theiler" userId="a0f496a5-efc4-4b52-959d-5e95987cae8c" providerId="ADAL" clId="{46BE184E-840E-48D3-B624-C448522A216F}" dt="2026-02-09T13:56:28.079" v="238"/>
          <ac:spMkLst>
            <pc:docMk/>
            <pc:sldMk cId="1155642287" sldId="141169015"/>
            <ac:spMk id="22" creationId="{273F823F-F7B3-B956-0CD6-7E4A548AF15E}"/>
          </ac:spMkLst>
        </pc:spChg>
        <pc:picChg chg="add mod">
          <ac:chgData name="Mascha Theiler" userId="a0f496a5-efc4-4b52-959d-5e95987cae8c" providerId="ADAL" clId="{46BE184E-840E-48D3-B624-C448522A216F}" dt="2026-02-09T13:54:17.699" v="109" actId="1076"/>
          <ac:picMkLst>
            <pc:docMk/>
            <pc:sldMk cId="1155642287" sldId="141169015"/>
            <ac:picMk id="3" creationId="{8614DA54-D27E-7F81-B258-0BD666D24BB2}"/>
          </ac:picMkLst>
        </pc:picChg>
        <pc:picChg chg="del">
          <ac:chgData name="Mascha Theiler" userId="a0f496a5-efc4-4b52-959d-5e95987cae8c" providerId="ADAL" clId="{46BE184E-840E-48D3-B624-C448522A216F}" dt="2026-02-09T13:54:16.268" v="108" actId="478"/>
          <ac:picMkLst>
            <pc:docMk/>
            <pc:sldMk cId="1155642287" sldId="141169015"/>
            <ac:picMk id="8" creationId="{EB51F1B8-C9F2-73E2-BD69-0BB70CC42678}"/>
          </ac:picMkLst>
        </pc:picChg>
        <pc:picChg chg="del mod">
          <ac:chgData name="Mascha Theiler" userId="a0f496a5-efc4-4b52-959d-5e95987cae8c" providerId="ADAL" clId="{46BE184E-840E-48D3-B624-C448522A216F}" dt="2026-02-09T13:56:40.482" v="241" actId="478"/>
          <ac:picMkLst>
            <pc:docMk/>
            <pc:sldMk cId="1155642287" sldId="141169015"/>
            <ac:picMk id="9" creationId="{BA3F0B64-A96C-2B99-2876-F8883838EBCC}"/>
          </ac:picMkLst>
        </pc:picChg>
        <pc:picChg chg="add mod">
          <ac:chgData name="Mascha Theiler" userId="a0f496a5-efc4-4b52-959d-5e95987cae8c" providerId="ADAL" clId="{46BE184E-840E-48D3-B624-C448522A216F}" dt="2026-02-09T13:54:29.176" v="143" actId="1037"/>
          <ac:picMkLst>
            <pc:docMk/>
            <pc:sldMk cId="1155642287" sldId="141169015"/>
            <ac:picMk id="10" creationId="{09965D1E-BF93-C5C7-2C28-9642215BF93C}"/>
          </ac:picMkLst>
        </pc:picChg>
        <pc:picChg chg="del">
          <ac:chgData name="Mascha Theiler" userId="a0f496a5-efc4-4b52-959d-5e95987cae8c" providerId="ADAL" clId="{46BE184E-840E-48D3-B624-C448522A216F}" dt="2026-02-09T13:55:10.140" v="194" actId="478"/>
          <ac:picMkLst>
            <pc:docMk/>
            <pc:sldMk cId="1155642287" sldId="141169015"/>
            <ac:picMk id="13" creationId="{23308D8A-3717-0C93-62F0-DF963B2B42D9}"/>
          </ac:picMkLst>
        </pc:picChg>
        <pc:picChg chg="del">
          <ac:chgData name="Mascha Theiler" userId="a0f496a5-efc4-4b52-959d-5e95987cae8c" providerId="ADAL" clId="{46BE184E-840E-48D3-B624-C448522A216F}" dt="2026-02-09T13:54:52.203" v="146" actId="478"/>
          <ac:picMkLst>
            <pc:docMk/>
            <pc:sldMk cId="1155642287" sldId="141169015"/>
            <ac:picMk id="15" creationId="{B074EECD-23A6-307D-98DD-037DF8384590}"/>
          </ac:picMkLst>
        </pc:picChg>
        <pc:picChg chg="del">
          <ac:chgData name="Mascha Theiler" userId="a0f496a5-efc4-4b52-959d-5e95987cae8c" providerId="ADAL" clId="{46BE184E-840E-48D3-B624-C448522A216F}" dt="2026-02-09T13:54:25.785" v="112" actId="478"/>
          <ac:picMkLst>
            <pc:docMk/>
            <pc:sldMk cId="1155642287" sldId="141169015"/>
            <ac:picMk id="17" creationId="{961A6AB0-702D-2D37-F4E8-2F61B26A4CCF}"/>
          </ac:picMkLst>
        </pc:picChg>
        <pc:picChg chg="add del mod">
          <ac:chgData name="Mascha Theiler" userId="a0f496a5-efc4-4b52-959d-5e95987cae8c" providerId="ADAL" clId="{46BE184E-840E-48D3-B624-C448522A216F}" dt="2026-02-09T13:56:16.162" v="233" actId="478"/>
          <ac:picMkLst>
            <pc:docMk/>
            <pc:sldMk cId="1155642287" sldId="141169015"/>
            <ac:picMk id="19" creationId="{90169E6D-2E44-ABAA-7058-6C8F6D0DAE1D}"/>
          </ac:picMkLst>
        </pc:picChg>
        <pc:picChg chg="add mod">
          <ac:chgData name="Mascha Theiler" userId="a0f496a5-efc4-4b52-959d-5e95987cae8c" providerId="ADAL" clId="{46BE184E-840E-48D3-B624-C448522A216F}" dt="2026-02-09T13:55:20.813" v="224" actId="1037"/>
          <ac:picMkLst>
            <pc:docMk/>
            <pc:sldMk cId="1155642287" sldId="141169015"/>
            <ac:picMk id="20" creationId="{F6CC58FD-0337-7244-F895-B56F99606B3C}"/>
          </ac:picMkLst>
        </pc:picChg>
        <pc:picChg chg="add del mod">
          <ac:chgData name="Mascha Theiler" userId="a0f496a5-efc4-4b52-959d-5e95987cae8c" providerId="ADAL" clId="{46BE184E-840E-48D3-B624-C448522A216F}" dt="2026-02-09T13:55:43.060" v="226" actId="478"/>
          <ac:picMkLst>
            <pc:docMk/>
            <pc:sldMk cId="1155642287" sldId="141169015"/>
            <ac:picMk id="21" creationId="{897FC133-E513-B8F6-AACF-814F69207A62}"/>
          </ac:picMkLst>
        </pc:picChg>
        <pc:picChg chg="add del mod">
          <ac:chgData name="Mascha Theiler" userId="a0f496a5-efc4-4b52-959d-5e95987cae8c" providerId="ADAL" clId="{46BE184E-840E-48D3-B624-C448522A216F}" dt="2026-02-09T13:56:19.697" v="237" actId="478"/>
          <ac:picMkLst>
            <pc:docMk/>
            <pc:sldMk cId="1155642287" sldId="141169015"/>
            <ac:picMk id="1026" creationId="{6DE10115-6228-0816-9A1E-FF532E6F434C}"/>
          </ac:picMkLst>
        </pc:picChg>
        <pc:picChg chg="add del mod">
          <ac:chgData name="Mascha Theiler" userId="a0f496a5-efc4-4b52-959d-5e95987cae8c" providerId="ADAL" clId="{46BE184E-840E-48D3-B624-C448522A216F}" dt="2026-02-09T13:56:40.482" v="241" actId="478"/>
          <ac:picMkLst>
            <pc:docMk/>
            <pc:sldMk cId="1155642287" sldId="141169015"/>
            <ac:picMk id="1030" creationId="{8B4A12E5-6552-8B2A-4C4E-DA82F7B8ADBC}"/>
          </ac:picMkLst>
        </pc:picChg>
        <pc:picChg chg="add mod">
          <ac:chgData name="Mascha Theiler" userId="a0f496a5-efc4-4b52-959d-5e95987cae8c" providerId="ADAL" clId="{46BE184E-840E-48D3-B624-C448522A216F}" dt="2026-02-09T13:57:15.222" v="255" actId="1037"/>
          <ac:picMkLst>
            <pc:docMk/>
            <pc:sldMk cId="1155642287" sldId="141169015"/>
            <ac:picMk id="1032" creationId="{4448A1B9-801F-5980-AA2B-A354CA743FC7}"/>
          </ac:picMkLst>
        </pc:picChg>
      </pc:sldChg>
      <pc:sldChg chg="modSp mod">
        <pc:chgData name="Mascha Theiler" userId="a0f496a5-efc4-4b52-959d-5e95987cae8c" providerId="ADAL" clId="{46BE184E-840E-48D3-B624-C448522A216F}" dt="2026-02-09T14:05:56.546" v="431" actId="20577"/>
        <pc:sldMkLst>
          <pc:docMk/>
          <pc:sldMk cId="3920161085" sldId="141169016"/>
        </pc:sldMkLst>
        <pc:spChg chg="mod">
          <ac:chgData name="Mascha Theiler" userId="a0f496a5-efc4-4b52-959d-5e95987cae8c" providerId="ADAL" clId="{46BE184E-840E-48D3-B624-C448522A216F}" dt="2026-02-09T14:03:12.615" v="328"/>
          <ac:spMkLst>
            <pc:docMk/>
            <pc:sldMk cId="3920161085" sldId="141169016"/>
            <ac:spMk id="2" creationId="{70798453-C997-95A2-1CE2-DB06558C9443}"/>
          </ac:spMkLst>
        </pc:spChg>
        <pc:spChg chg="mod">
          <ac:chgData name="Mascha Theiler" userId="a0f496a5-efc4-4b52-959d-5e95987cae8c" providerId="ADAL" clId="{46BE184E-840E-48D3-B624-C448522A216F}" dt="2026-02-09T14:05:56.546" v="431" actId="20577"/>
          <ac:spMkLst>
            <pc:docMk/>
            <pc:sldMk cId="3920161085" sldId="141169016"/>
            <ac:spMk id="3" creationId="{E1134C37-16BD-2DC0-EB07-DC15D0ECA40D}"/>
          </ac:spMkLst>
        </pc:spChg>
        <pc:spChg chg="mod">
          <ac:chgData name="Mascha Theiler" userId="a0f496a5-efc4-4b52-959d-5e95987cae8c" providerId="ADAL" clId="{46BE184E-840E-48D3-B624-C448522A216F}" dt="2026-02-09T13:53:39.431" v="83" actId="20577"/>
          <ac:spMkLst>
            <pc:docMk/>
            <pc:sldMk cId="3920161085" sldId="141169016"/>
            <ac:spMk id="5" creationId="{E43EBFF0-ABE3-9897-CEBC-1DB5F57EDFEE}"/>
          </ac:spMkLst>
        </pc:spChg>
      </pc:sldChg>
      <pc:sldChg chg="modSp mod">
        <pc:chgData name="Mascha Theiler" userId="a0f496a5-efc4-4b52-959d-5e95987cae8c" providerId="ADAL" clId="{46BE184E-840E-48D3-B624-C448522A216F}" dt="2026-02-09T14:03:01.281" v="327"/>
        <pc:sldMkLst>
          <pc:docMk/>
          <pc:sldMk cId="263958080" sldId="141169018"/>
        </pc:sldMkLst>
        <pc:spChg chg="mod">
          <ac:chgData name="Mascha Theiler" userId="a0f496a5-efc4-4b52-959d-5e95987cae8c" providerId="ADAL" clId="{46BE184E-840E-48D3-B624-C448522A216F}" dt="2026-02-09T14:03:01.281" v="327"/>
          <ac:spMkLst>
            <pc:docMk/>
            <pc:sldMk cId="263958080" sldId="141169018"/>
            <ac:spMk id="2" creationId="{1EC2DDDD-ACAF-61EF-B64D-250214EF3B1E}"/>
          </ac:spMkLst>
        </pc:spChg>
        <pc:spChg chg="mod">
          <ac:chgData name="Mascha Theiler" userId="a0f496a5-efc4-4b52-959d-5e95987cae8c" providerId="ADAL" clId="{46BE184E-840E-48D3-B624-C448522A216F}" dt="2026-02-09T14:02:50.825" v="326" actId="20577"/>
          <ac:spMkLst>
            <pc:docMk/>
            <pc:sldMk cId="263958080" sldId="141169018"/>
            <ac:spMk id="3" creationId="{5CF55C2E-5172-48EC-D8E3-6C4AEC2D483E}"/>
          </ac:spMkLst>
        </pc:spChg>
        <pc:spChg chg="mod">
          <ac:chgData name="Mascha Theiler" userId="a0f496a5-efc4-4b52-959d-5e95987cae8c" providerId="ADAL" clId="{46BE184E-840E-48D3-B624-C448522A216F}" dt="2026-02-09T13:53:32.020" v="62" actId="20577"/>
          <ac:spMkLst>
            <pc:docMk/>
            <pc:sldMk cId="263958080" sldId="141169018"/>
            <ac:spMk id="5" creationId="{384444AD-9323-FFE3-7A5A-933A50629F3B}"/>
          </ac:spMkLst>
        </pc:spChg>
      </pc:sldChg>
      <pc:sldChg chg="modSp mod">
        <pc:chgData name="Mascha Theiler" userId="a0f496a5-efc4-4b52-959d-5e95987cae8c" providerId="ADAL" clId="{46BE184E-840E-48D3-B624-C448522A216F}" dt="2026-02-09T14:49:03.624" v="1112"/>
        <pc:sldMkLst>
          <pc:docMk/>
          <pc:sldMk cId="970333773" sldId="141169019"/>
        </pc:sldMkLst>
        <pc:spChg chg="mod">
          <ac:chgData name="Mascha Theiler" userId="a0f496a5-efc4-4b52-959d-5e95987cae8c" providerId="ADAL" clId="{46BE184E-840E-48D3-B624-C448522A216F}" dt="2026-02-09T14:49:03.624" v="1112"/>
          <ac:spMkLst>
            <pc:docMk/>
            <pc:sldMk cId="970333773" sldId="141169019"/>
            <ac:spMk id="2" creationId="{0FD4C692-C4AE-9B18-53A3-7170A9E02079}"/>
          </ac:spMkLst>
        </pc:spChg>
        <pc:spChg chg="mod">
          <ac:chgData name="Mascha Theiler" userId="a0f496a5-efc4-4b52-959d-5e95987cae8c" providerId="ADAL" clId="{46BE184E-840E-48D3-B624-C448522A216F}" dt="2026-02-09T14:48:55.295" v="1111" actId="20577"/>
          <ac:spMkLst>
            <pc:docMk/>
            <pc:sldMk cId="970333773" sldId="141169019"/>
            <ac:spMk id="5" creationId="{42B35813-83D4-01C5-69CD-6825353FCFA1}"/>
          </ac:spMkLst>
        </pc:spChg>
      </pc:sldChg>
      <pc:sldChg chg="modSp mod">
        <pc:chgData name="Mascha Theiler" userId="a0f496a5-efc4-4b52-959d-5e95987cae8c" providerId="ADAL" clId="{46BE184E-840E-48D3-B624-C448522A216F}" dt="2026-02-09T15:04:51.790" v="1326" actId="20577"/>
        <pc:sldMkLst>
          <pc:docMk/>
          <pc:sldMk cId="2477443092" sldId="141169021"/>
        </pc:sldMkLst>
        <pc:spChg chg="mod">
          <ac:chgData name="Mascha Theiler" userId="a0f496a5-efc4-4b52-959d-5e95987cae8c" providerId="ADAL" clId="{46BE184E-840E-48D3-B624-C448522A216F}" dt="2026-02-09T15:01:12.994" v="1219" actId="20577"/>
          <ac:spMkLst>
            <pc:docMk/>
            <pc:sldMk cId="2477443092" sldId="141169021"/>
            <ac:spMk id="2" creationId="{FB43CEB1-289F-8262-EB60-767A808507B7}"/>
          </ac:spMkLst>
        </pc:spChg>
        <pc:spChg chg="mod">
          <ac:chgData name="Mascha Theiler" userId="a0f496a5-efc4-4b52-959d-5e95987cae8c" providerId="ADAL" clId="{46BE184E-840E-48D3-B624-C448522A216F}" dt="2026-02-09T15:04:51.790" v="1326" actId="20577"/>
          <ac:spMkLst>
            <pc:docMk/>
            <pc:sldMk cId="2477443092" sldId="141169021"/>
            <ac:spMk id="3" creationId="{CF899DFA-E392-3C8E-EBAE-88D0B6C636B9}"/>
          </ac:spMkLst>
        </pc:spChg>
        <pc:spChg chg="mod">
          <ac:chgData name="Mascha Theiler" userId="a0f496a5-efc4-4b52-959d-5e95987cae8c" providerId="ADAL" clId="{46BE184E-840E-48D3-B624-C448522A216F}" dt="2026-02-09T14:47:06.638" v="959" actId="20577"/>
          <ac:spMkLst>
            <pc:docMk/>
            <pc:sldMk cId="2477443092" sldId="141169021"/>
            <ac:spMk id="5" creationId="{6F10524E-AC23-2F5A-FF9B-CA0D939AEE29}"/>
          </ac:spMkLst>
        </pc:spChg>
      </pc:sldChg>
      <pc:sldChg chg="modSp mod">
        <pc:chgData name="Mascha Theiler" userId="a0f496a5-efc4-4b52-959d-5e95987cae8c" providerId="ADAL" clId="{46BE184E-840E-48D3-B624-C448522A216F}" dt="2026-02-09T15:01:07.208" v="1217" actId="113"/>
        <pc:sldMkLst>
          <pc:docMk/>
          <pc:sldMk cId="4194151403" sldId="141169022"/>
        </pc:sldMkLst>
        <pc:spChg chg="mod">
          <ac:chgData name="Mascha Theiler" userId="a0f496a5-efc4-4b52-959d-5e95987cae8c" providerId="ADAL" clId="{46BE184E-840E-48D3-B624-C448522A216F}" dt="2026-02-09T15:00:47.058" v="1215" actId="113"/>
          <ac:spMkLst>
            <pc:docMk/>
            <pc:sldMk cId="4194151403" sldId="141169022"/>
            <ac:spMk id="2" creationId="{F7DF0A48-55CD-EA96-729B-728A67121D3A}"/>
          </ac:spMkLst>
        </pc:spChg>
        <pc:spChg chg="mod">
          <ac:chgData name="Mascha Theiler" userId="a0f496a5-efc4-4b52-959d-5e95987cae8c" providerId="ADAL" clId="{46BE184E-840E-48D3-B624-C448522A216F}" dt="2026-02-09T15:01:07.208" v="1217" actId="113"/>
          <ac:spMkLst>
            <pc:docMk/>
            <pc:sldMk cId="4194151403" sldId="141169022"/>
            <ac:spMk id="3" creationId="{F3D0BCB9-1090-E5AF-E5E8-8B38FFE219F2}"/>
          </ac:spMkLst>
        </pc:spChg>
        <pc:spChg chg="mod">
          <ac:chgData name="Mascha Theiler" userId="a0f496a5-efc4-4b52-959d-5e95987cae8c" providerId="ADAL" clId="{46BE184E-840E-48D3-B624-C448522A216F}" dt="2026-02-09T14:42:26.767" v="875" actId="20577"/>
          <ac:spMkLst>
            <pc:docMk/>
            <pc:sldMk cId="4194151403" sldId="141169022"/>
            <ac:spMk id="5" creationId="{9CD3D229-FF11-F8C7-7345-C02D4D0D9948}"/>
          </ac:spMkLst>
        </pc:spChg>
      </pc:sldChg>
      <pc:sldChg chg="modSp mod">
        <pc:chgData name="Mascha Theiler" userId="a0f496a5-efc4-4b52-959d-5e95987cae8c" providerId="ADAL" clId="{46BE184E-840E-48D3-B624-C448522A216F}" dt="2026-02-09T14:16:43.864" v="717" actId="20577"/>
        <pc:sldMkLst>
          <pc:docMk/>
          <pc:sldMk cId="285374715" sldId="141169028"/>
        </pc:sldMkLst>
        <pc:spChg chg="mod">
          <ac:chgData name="Mascha Theiler" userId="a0f496a5-efc4-4b52-959d-5e95987cae8c" providerId="ADAL" clId="{46BE184E-840E-48D3-B624-C448522A216F}" dt="2026-02-09T14:12:34.583" v="569" actId="20577"/>
          <ac:spMkLst>
            <pc:docMk/>
            <pc:sldMk cId="285374715" sldId="141169028"/>
            <ac:spMk id="2" creationId="{4BA3743F-C9F1-D349-3E71-285647B70159}"/>
          </ac:spMkLst>
        </pc:spChg>
        <pc:spChg chg="mod">
          <ac:chgData name="Mascha Theiler" userId="a0f496a5-efc4-4b52-959d-5e95987cae8c" providerId="ADAL" clId="{46BE184E-840E-48D3-B624-C448522A216F}" dt="2026-02-09T14:16:38.811" v="698"/>
          <ac:spMkLst>
            <pc:docMk/>
            <pc:sldMk cId="285374715" sldId="141169028"/>
            <ac:spMk id="5" creationId="{2B6563FF-EB32-58FA-BF76-49943C3D9B80}"/>
          </ac:spMkLst>
        </pc:spChg>
        <pc:spChg chg="mod">
          <ac:chgData name="Mascha Theiler" userId="a0f496a5-efc4-4b52-959d-5e95987cae8c" providerId="ADAL" clId="{46BE184E-840E-48D3-B624-C448522A216F}" dt="2026-02-09T14:12:37.892" v="579" actId="20577"/>
          <ac:spMkLst>
            <pc:docMk/>
            <pc:sldMk cId="285374715" sldId="141169028"/>
            <ac:spMk id="6" creationId="{54BE5AC0-5EBB-B36D-3B93-AF3237793BBE}"/>
          </ac:spMkLst>
        </pc:spChg>
        <pc:spChg chg="mod">
          <ac:chgData name="Mascha Theiler" userId="a0f496a5-efc4-4b52-959d-5e95987cae8c" providerId="ADAL" clId="{46BE184E-840E-48D3-B624-C448522A216F}" dt="2026-02-09T14:16:43.864" v="717" actId="20577"/>
          <ac:spMkLst>
            <pc:docMk/>
            <pc:sldMk cId="285374715" sldId="141169028"/>
            <ac:spMk id="8" creationId="{395A4856-C050-D76D-6EAC-731AC93AF262}"/>
          </ac:spMkLst>
        </pc:spChg>
      </pc:sldChg>
      <pc:sldChg chg="modSp mod">
        <pc:chgData name="Mascha Theiler" userId="a0f496a5-efc4-4b52-959d-5e95987cae8c" providerId="ADAL" clId="{46BE184E-840E-48D3-B624-C448522A216F}" dt="2026-02-09T14:18:27.225" v="748" actId="20577"/>
        <pc:sldMkLst>
          <pc:docMk/>
          <pc:sldMk cId="3584441893" sldId="141169029"/>
        </pc:sldMkLst>
        <pc:spChg chg="mod">
          <ac:chgData name="Mascha Theiler" userId="a0f496a5-efc4-4b52-959d-5e95987cae8c" providerId="ADAL" clId="{46BE184E-840E-48D3-B624-C448522A216F}" dt="2026-02-09T14:12:42.408" v="583" actId="20577"/>
          <ac:spMkLst>
            <pc:docMk/>
            <pc:sldMk cId="3584441893" sldId="141169029"/>
            <ac:spMk id="2" creationId="{F571DC53-BBAF-5884-91DB-273A0D40572D}"/>
          </ac:spMkLst>
        </pc:spChg>
        <pc:spChg chg="mod">
          <ac:chgData name="Mascha Theiler" userId="a0f496a5-efc4-4b52-959d-5e95987cae8c" providerId="ADAL" clId="{46BE184E-840E-48D3-B624-C448522A216F}" dt="2026-02-09T14:18:22.046" v="729"/>
          <ac:spMkLst>
            <pc:docMk/>
            <pc:sldMk cId="3584441893" sldId="141169029"/>
            <ac:spMk id="5" creationId="{DE90AC74-28E6-F139-823C-2C4BBBD91A27}"/>
          </ac:spMkLst>
        </pc:spChg>
        <pc:spChg chg="mod">
          <ac:chgData name="Mascha Theiler" userId="a0f496a5-efc4-4b52-959d-5e95987cae8c" providerId="ADAL" clId="{46BE184E-840E-48D3-B624-C448522A216F}" dt="2026-02-09T14:12:45.524" v="586" actId="20577"/>
          <ac:spMkLst>
            <pc:docMk/>
            <pc:sldMk cId="3584441893" sldId="141169029"/>
            <ac:spMk id="6" creationId="{1BDE2159-5F56-F017-D909-F9B385FD924B}"/>
          </ac:spMkLst>
        </pc:spChg>
        <pc:spChg chg="mod">
          <ac:chgData name="Mascha Theiler" userId="a0f496a5-efc4-4b52-959d-5e95987cae8c" providerId="ADAL" clId="{46BE184E-840E-48D3-B624-C448522A216F}" dt="2026-02-09T14:18:27.225" v="748" actId="20577"/>
          <ac:spMkLst>
            <pc:docMk/>
            <pc:sldMk cId="3584441893" sldId="141169029"/>
            <ac:spMk id="8" creationId="{47DBDDBC-9ACE-FFD8-2EDB-0B80EF4AF521}"/>
          </ac:spMkLst>
        </pc:spChg>
      </pc:sldChg>
      <pc:sldChg chg="modSp mod">
        <pc:chgData name="Mascha Theiler" userId="a0f496a5-efc4-4b52-959d-5e95987cae8c" providerId="ADAL" clId="{46BE184E-840E-48D3-B624-C448522A216F}" dt="2026-02-09T14:23:20.106" v="791" actId="20577"/>
        <pc:sldMkLst>
          <pc:docMk/>
          <pc:sldMk cId="353472364" sldId="141169030"/>
        </pc:sldMkLst>
        <pc:spChg chg="mod">
          <ac:chgData name="Mascha Theiler" userId="a0f496a5-efc4-4b52-959d-5e95987cae8c" providerId="ADAL" clId="{46BE184E-840E-48D3-B624-C448522A216F}" dt="2026-02-09T14:12:54.245" v="593" actId="20577"/>
          <ac:spMkLst>
            <pc:docMk/>
            <pc:sldMk cId="353472364" sldId="141169030"/>
            <ac:spMk id="2" creationId="{79C467F7-B0EC-B0E9-2CE0-99C9BF8B5D48}"/>
          </ac:spMkLst>
        </pc:spChg>
        <pc:spChg chg="mod">
          <ac:chgData name="Mascha Theiler" userId="a0f496a5-efc4-4b52-959d-5e95987cae8c" providerId="ADAL" clId="{46BE184E-840E-48D3-B624-C448522A216F}" dt="2026-02-09T14:23:15.186" v="772"/>
          <ac:spMkLst>
            <pc:docMk/>
            <pc:sldMk cId="353472364" sldId="141169030"/>
            <ac:spMk id="3" creationId="{CAA0F70D-2FD4-D6B0-7984-91C19F09D817}"/>
          </ac:spMkLst>
        </pc:spChg>
        <pc:spChg chg="mod">
          <ac:chgData name="Mascha Theiler" userId="a0f496a5-efc4-4b52-959d-5e95987cae8c" providerId="ADAL" clId="{46BE184E-840E-48D3-B624-C448522A216F}" dt="2026-02-09T14:23:20.106" v="791" actId="20577"/>
          <ac:spMkLst>
            <pc:docMk/>
            <pc:sldMk cId="353472364" sldId="141169030"/>
            <ac:spMk id="5" creationId="{9C5B8C64-3469-DC07-026B-964F2B2ABC7B}"/>
          </ac:spMkLst>
        </pc:spChg>
      </pc:sldChg>
      <pc:sldChg chg="modSp mod">
        <pc:chgData name="Mascha Theiler" userId="a0f496a5-efc4-4b52-959d-5e95987cae8c" providerId="ADAL" clId="{46BE184E-840E-48D3-B624-C448522A216F}" dt="2026-02-09T14:41:18.544" v="844"/>
        <pc:sldMkLst>
          <pc:docMk/>
          <pc:sldMk cId="1014346146" sldId="141169031"/>
        </pc:sldMkLst>
        <pc:spChg chg="mod">
          <ac:chgData name="Mascha Theiler" userId="a0f496a5-efc4-4b52-959d-5e95987cae8c" providerId="ADAL" clId="{46BE184E-840E-48D3-B624-C448522A216F}" dt="2026-02-09T14:13:13.095" v="605" actId="20577"/>
          <ac:spMkLst>
            <pc:docMk/>
            <pc:sldMk cId="1014346146" sldId="141169031"/>
            <ac:spMk id="2" creationId="{CBD7FEC5-73AB-8678-E422-D87970B302CF}"/>
          </ac:spMkLst>
        </pc:spChg>
        <pc:spChg chg="mod">
          <ac:chgData name="Mascha Theiler" userId="a0f496a5-efc4-4b52-959d-5e95987cae8c" providerId="ADAL" clId="{46BE184E-840E-48D3-B624-C448522A216F}" dt="2026-02-09T14:41:18.544" v="844"/>
          <ac:spMkLst>
            <pc:docMk/>
            <pc:sldMk cId="1014346146" sldId="141169031"/>
            <ac:spMk id="3" creationId="{126C3D65-82E6-AB86-06EF-9F9664B131CB}"/>
          </ac:spMkLst>
        </pc:spChg>
        <pc:spChg chg="mod">
          <ac:chgData name="Mascha Theiler" userId="a0f496a5-efc4-4b52-959d-5e95987cae8c" providerId="ADAL" clId="{46BE184E-840E-48D3-B624-C448522A216F}" dt="2026-02-09T14:35:01.907" v="811" actId="20577"/>
          <ac:spMkLst>
            <pc:docMk/>
            <pc:sldMk cId="1014346146" sldId="141169031"/>
            <ac:spMk id="5" creationId="{5DC07DCF-FA11-737F-6C04-3AE42F0384F6}"/>
          </ac:spMkLst>
        </pc:spChg>
      </pc:sldChg>
      <pc:sldChg chg="modSp mod">
        <pc:chgData name="Mascha Theiler" userId="a0f496a5-efc4-4b52-959d-5e95987cae8c" providerId="ADAL" clId="{46BE184E-840E-48D3-B624-C448522A216F}" dt="2026-02-09T14:42:14.433" v="856" actId="20577"/>
        <pc:sldMkLst>
          <pc:docMk/>
          <pc:sldMk cId="1877088197" sldId="141169032"/>
        </pc:sldMkLst>
        <pc:spChg chg="mod">
          <ac:chgData name="Mascha Theiler" userId="a0f496a5-efc4-4b52-959d-5e95987cae8c" providerId="ADAL" clId="{46BE184E-840E-48D3-B624-C448522A216F}" dt="2026-02-09T14:13:09.769" v="601" actId="20577"/>
          <ac:spMkLst>
            <pc:docMk/>
            <pc:sldMk cId="1877088197" sldId="141169032"/>
            <ac:spMk id="2" creationId="{0E801890-C9DE-8A03-DB46-6F8FF8A5C663}"/>
          </ac:spMkLst>
        </pc:spChg>
        <pc:spChg chg="mod">
          <ac:chgData name="Mascha Theiler" userId="a0f496a5-efc4-4b52-959d-5e95987cae8c" providerId="ADAL" clId="{46BE184E-840E-48D3-B624-C448522A216F}" dt="2026-02-09T14:42:14.433" v="856" actId="20577"/>
          <ac:spMkLst>
            <pc:docMk/>
            <pc:sldMk cId="1877088197" sldId="141169032"/>
            <ac:spMk id="3" creationId="{A9894709-583E-EB42-C753-24E687286F63}"/>
          </ac:spMkLst>
        </pc:spChg>
        <pc:spChg chg="mod">
          <ac:chgData name="Mascha Theiler" userId="a0f496a5-efc4-4b52-959d-5e95987cae8c" providerId="ADAL" clId="{46BE184E-840E-48D3-B624-C448522A216F}" dt="2026-02-09T14:35:10.928" v="831" actId="20577"/>
          <ac:spMkLst>
            <pc:docMk/>
            <pc:sldMk cId="1877088197" sldId="141169032"/>
            <ac:spMk id="5" creationId="{DB173C20-8551-C365-A580-B63D099B0B5B}"/>
          </ac:spMkLst>
        </pc:spChg>
      </pc:sldChg>
      <pc:sldChg chg="modSp mod">
        <pc:chgData name="Mascha Theiler" userId="a0f496a5-efc4-4b52-959d-5e95987cae8c" providerId="ADAL" clId="{46BE184E-840E-48D3-B624-C448522A216F}" dt="2026-02-09T15:06:39.412" v="1352" actId="15"/>
        <pc:sldMkLst>
          <pc:docMk/>
          <pc:sldMk cId="1758998129" sldId="141169033"/>
        </pc:sldMkLst>
        <pc:spChg chg="mod">
          <ac:chgData name="Mascha Theiler" userId="a0f496a5-efc4-4b52-959d-5e95987cae8c" providerId="ADAL" clId="{46BE184E-840E-48D3-B624-C448522A216F}" dt="2026-02-09T15:01:18.531" v="1221" actId="20577"/>
          <ac:spMkLst>
            <pc:docMk/>
            <pc:sldMk cId="1758998129" sldId="141169033"/>
            <ac:spMk id="2" creationId="{B19DDC68-03FD-9F3C-01AA-B64D88E63458}"/>
          </ac:spMkLst>
        </pc:spChg>
        <pc:spChg chg="mod">
          <ac:chgData name="Mascha Theiler" userId="a0f496a5-efc4-4b52-959d-5e95987cae8c" providerId="ADAL" clId="{46BE184E-840E-48D3-B624-C448522A216F}" dt="2026-02-09T15:06:39.412" v="1352" actId="15"/>
          <ac:spMkLst>
            <pc:docMk/>
            <pc:sldMk cId="1758998129" sldId="141169033"/>
            <ac:spMk id="5" creationId="{BE105C8D-B635-4794-EE6F-4E32D24B5D8B}"/>
          </ac:spMkLst>
        </pc:spChg>
        <pc:spChg chg="mod">
          <ac:chgData name="Mascha Theiler" userId="a0f496a5-efc4-4b52-959d-5e95987cae8c" providerId="ADAL" clId="{46BE184E-840E-48D3-B624-C448522A216F}" dt="2026-02-09T15:05:00.907" v="1336" actId="20577"/>
          <ac:spMkLst>
            <pc:docMk/>
            <pc:sldMk cId="1758998129" sldId="141169033"/>
            <ac:spMk id="6" creationId="{DFC88C71-1142-4461-2973-011AB0122080}"/>
          </ac:spMkLst>
        </pc:spChg>
        <pc:spChg chg="mod">
          <ac:chgData name="Mascha Theiler" userId="a0f496a5-efc4-4b52-959d-5e95987cae8c" providerId="ADAL" clId="{46BE184E-840E-48D3-B624-C448522A216F}" dt="2026-02-09T14:47:56.830" v="1048" actId="20577"/>
          <ac:spMkLst>
            <pc:docMk/>
            <pc:sldMk cId="1758998129" sldId="141169033"/>
            <ac:spMk id="8" creationId="{1321AA28-8199-0286-0F12-3F862188EE71}"/>
          </ac:spMkLst>
        </pc:spChg>
      </pc:sldChg>
      <pc:sldChg chg="modSp mod">
        <pc:chgData name="Mascha Theiler" userId="a0f496a5-efc4-4b52-959d-5e95987cae8c" providerId="ADAL" clId="{46BE184E-840E-48D3-B624-C448522A216F}" dt="2026-02-09T15:08:16.761" v="1361"/>
        <pc:sldMkLst>
          <pc:docMk/>
          <pc:sldMk cId="1651482101" sldId="141169034"/>
        </pc:sldMkLst>
        <pc:spChg chg="mod">
          <ac:chgData name="Mascha Theiler" userId="a0f496a5-efc4-4b52-959d-5e95987cae8c" providerId="ADAL" clId="{46BE184E-840E-48D3-B624-C448522A216F}" dt="2026-02-09T15:01:23.152" v="1223" actId="20577"/>
          <ac:spMkLst>
            <pc:docMk/>
            <pc:sldMk cId="1651482101" sldId="141169034"/>
            <ac:spMk id="2" creationId="{2B488A06-A038-9537-D457-6D0D9DE03A13}"/>
          </ac:spMkLst>
        </pc:spChg>
        <pc:spChg chg="mod">
          <ac:chgData name="Mascha Theiler" userId="a0f496a5-efc4-4b52-959d-5e95987cae8c" providerId="ADAL" clId="{46BE184E-840E-48D3-B624-C448522A216F}" dt="2026-02-09T15:08:16.761" v="1361"/>
          <ac:spMkLst>
            <pc:docMk/>
            <pc:sldMk cId="1651482101" sldId="141169034"/>
            <ac:spMk id="5" creationId="{3A67AEED-26E2-F3E8-F6AF-74D683BB7E28}"/>
          </ac:spMkLst>
        </pc:spChg>
        <pc:spChg chg="mod">
          <ac:chgData name="Mascha Theiler" userId="a0f496a5-efc4-4b52-959d-5e95987cae8c" providerId="ADAL" clId="{46BE184E-840E-48D3-B624-C448522A216F}" dt="2026-02-09T14:47:46.292" v="1010" actId="20577"/>
          <ac:spMkLst>
            <pc:docMk/>
            <pc:sldMk cId="1651482101" sldId="141169034"/>
            <ac:spMk id="6" creationId="{6278251F-D130-0662-791C-6A54B62E5FF6}"/>
          </ac:spMkLst>
        </pc:spChg>
        <pc:spChg chg="mod">
          <ac:chgData name="Mascha Theiler" userId="a0f496a5-efc4-4b52-959d-5e95987cae8c" providerId="ADAL" clId="{46BE184E-840E-48D3-B624-C448522A216F}" dt="2026-02-09T14:47:51.216" v="1029" actId="20577"/>
          <ac:spMkLst>
            <pc:docMk/>
            <pc:sldMk cId="1651482101" sldId="141169034"/>
            <ac:spMk id="8" creationId="{E19D805F-2F3C-90F7-0D0C-3C8CA5B918FB}"/>
          </ac:spMkLst>
        </pc:spChg>
      </pc:sldChg>
      <pc:sldChg chg="modSp mod">
        <pc:chgData name="Mascha Theiler" userId="a0f496a5-efc4-4b52-959d-5e95987cae8c" providerId="ADAL" clId="{46BE184E-840E-48D3-B624-C448522A216F}" dt="2026-02-09T15:28:46.300" v="1439" actId="1076"/>
        <pc:sldMkLst>
          <pc:docMk/>
          <pc:sldMk cId="601275175" sldId="141169035"/>
        </pc:sldMkLst>
        <pc:spChg chg="mod">
          <ac:chgData name="Mascha Theiler" userId="a0f496a5-efc4-4b52-959d-5e95987cae8c" providerId="ADAL" clId="{46BE184E-840E-48D3-B624-C448522A216F}" dt="2026-02-09T15:01:28.387" v="1225" actId="20577"/>
          <ac:spMkLst>
            <pc:docMk/>
            <pc:sldMk cId="601275175" sldId="141169035"/>
            <ac:spMk id="2" creationId="{4224ADC6-1348-34F1-8820-937488E924F8}"/>
          </ac:spMkLst>
        </pc:spChg>
        <pc:spChg chg="mod">
          <ac:chgData name="Mascha Theiler" userId="a0f496a5-efc4-4b52-959d-5e95987cae8c" providerId="ADAL" clId="{46BE184E-840E-48D3-B624-C448522A216F}" dt="2026-02-09T15:28:46.300" v="1439" actId="1076"/>
          <ac:spMkLst>
            <pc:docMk/>
            <pc:sldMk cId="601275175" sldId="141169035"/>
            <ac:spMk id="3" creationId="{235E38B2-4DB9-6825-D733-98E8CF542011}"/>
          </ac:spMkLst>
        </pc:spChg>
        <pc:spChg chg="mod">
          <ac:chgData name="Mascha Theiler" userId="a0f496a5-efc4-4b52-959d-5e95987cae8c" providerId="ADAL" clId="{46BE184E-840E-48D3-B624-C448522A216F}" dt="2026-02-09T15:08:42.054" v="1381" actId="20577"/>
          <ac:spMkLst>
            <pc:docMk/>
            <pc:sldMk cId="601275175" sldId="141169035"/>
            <ac:spMk id="5" creationId="{F249DACC-FE83-2AB4-BC12-3AB1F0DE35F1}"/>
          </ac:spMkLst>
        </pc:spChg>
      </pc:sldChg>
      <pc:sldChg chg="addSp delSp modSp mod">
        <pc:chgData name="Mascha Theiler" userId="a0f496a5-efc4-4b52-959d-5e95987cae8c" providerId="ADAL" clId="{46BE184E-840E-48D3-B624-C448522A216F}" dt="2026-02-09T15:32:40.851" v="1479" actId="207"/>
        <pc:sldMkLst>
          <pc:docMk/>
          <pc:sldMk cId="1663389312" sldId="141169036"/>
        </pc:sldMkLst>
        <pc:spChg chg="mod">
          <ac:chgData name="Mascha Theiler" userId="a0f496a5-efc4-4b52-959d-5e95987cae8c" providerId="ADAL" clId="{46BE184E-840E-48D3-B624-C448522A216F}" dt="2026-02-09T15:01:33.057" v="1227" actId="20577"/>
          <ac:spMkLst>
            <pc:docMk/>
            <pc:sldMk cId="1663389312" sldId="141169036"/>
            <ac:spMk id="2" creationId="{DCB2A438-9C0A-411B-D5B3-BE0B78F88C03}"/>
          </ac:spMkLst>
        </pc:spChg>
        <pc:spChg chg="mod">
          <ac:chgData name="Mascha Theiler" userId="a0f496a5-efc4-4b52-959d-5e95987cae8c" providerId="ADAL" clId="{46BE184E-840E-48D3-B624-C448522A216F}" dt="2026-02-09T15:08:58.252" v="1402" actId="20577"/>
          <ac:spMkLst>
            <pc:docMk/>
            <pc:sldMk cId="1663389312" sldId="141169036"/>
            <ac:spMk id="4" creationId="{530052B1-0B26-7EC5-4158-67FA7FFDFCED}"/>
          </ac:spMkLst>
        </pc:spChg>
        <pc:spChg chg="mod">
          <ac:chgData name="Mascha Theiler" userId="a0f496a5-efc4-4b52-959d-5e95987cae8c" providerId="ADAL" clId="{46BE184E-840E-48D3-B624-C448522A216F}" dt="2026-02-09T15:32:40.851" v="1479" actId="207"/>
          <ac:spMkLst>
            <pc:docMk/>
            <pc:sldMk cId="1663389312" sldId="141169036"/>
            <ac:spMk id="10" creationId="{4489CDAB-89CB-1C8C-87B2-AA6D9194D4CB}"/>
          </ac:spMkLst>
        </pc:spChg>
        <pc:picChg chg="add mod">
          <ac:chgData name="Mascha Theiler" userId="a0f496a5-efc4-4b52-959d-5e95987cae8c" providerId="ADAL" clId="{46BE184E-840E-48D3-B624-C448522A216F}" dt="2026-02-09T15:29:47.890" v="1450" actId="1037"/>
          <ac:picMkLst>
            <pc:docMk/>
            <pc:sldMk cId="1663389312" sldId="141169036"/>
            <ac:picMk id="7" creationId="{D845642C-CE9D-BFF3-2EE0-E6C396327CA8}"/>
          </ac:picMkLst>
        </pc:picChg>
        <pc:picChg chg="del">
          <ac:chgData name="Mascha Theiler" userId="a0f496a5-efc4-4b52-959d-5e95987cae8c" providerId="ADAL" clId="{46BE184E-840E-48D3-B624-C448522A216F}" dt="2026-02-09T15:29:37.203" v="1441" actId="478"/>
          <ac:picMkLst>
            <pc:docMk/>
            <pc:sldMk cId="1663389312" sldId="141169036"/>
            <ac:picMk id="8" creationId="{31B79E5D-1877-F3D2-8C11-4D7F13817805}"/>
          </ac:picMkLst>
        </pc:picChg>
        <pc:picChg chg="del">
          <ac:chgData name="Mascha Theiler" userId="a0f496a5-efc4-4b52-959d-5e95987cae8c" providerId="ADAL" clId="{46BE184E-840E-48D3-B624-C448522A216F}" dt="2026-02-09T15:30:18.258" v="1454" actId="478"/>
          <ac:picMkLst>
            <pc:docMk/>
            <pc:sldMk cId="1663389312" sldId="141169036"/>
            <ac:picMk id="9" creationId="{6FCAF167-BBD9-640F-DE33-B8A247F8305B}"/>
          </ac:picMkLst>
        </pc:picChg>
        <pc:picChg chg="add mod modCrop">
          <ac:chgData name="Mascha Theiler" userId="a0f496a5-efc4-4b52-959d-5e95987cae8c" providerId="ADAL" clId="{46BE184E-840E-48D3-B624-C448522A216F}" dt="2026-02-09T15:30:23.157" v="1457" actId="1076"/>
          <ac:picMkLst>
            <pc:docMk/>
            <pc:sldMk cId="1663389312" sldId="141169036"/>
            <ac:picMk id="12" creationId="{4BBE73B9-761B-56CD-D4F6-C5A37003D4FF}"/>
          </ac:picMkLst>
        </pc:picChg>
      </pc:sldChg>
      <pc:sldChg chg="modSp mod">
        <pc:chgData name="Mascha Theiler" userId="a0f496a5-efc4-4b52-959d-5e95987cae8c" providerId="ADAL" clId="{46BE184E-840E-48D3-B624-C448522A216F}" dt="2026-02-09T16:23:26.884" v="1914" actId="1076"/>
        <pc:sldMkLst>
          <pc:docMk/>
          <pc:sldMk cId="2153066084" sldId="141169037"/>
        </pc:sldMkLst>
        <pc:spChg chg="mod">
          <ac:chgData name="Mascha Theiler" userId="a0f496a5-efc4-4b52-959d-5e95987cae8c" providerId="ADAL" clId="{46BE184E-840E-48D3-B624-C448522A216F}" dt="2026-02-09T15:01:36.923" v="1228"/>
          <ac:spMkLst>
            <pc:docMk/>
            <pc:sldMk cId="2153066084" sldId="141169037"/>
            <ac:spMk id="2" creationId="{AEB767F2-D6AA-5939-AD4A-7561363F8A60}"/>
          </ac:spMkLst>
        </pc:spChg>
        <pc:spChg chg="mod">
          <ac:chgData name="Mascha Theiler" userId="a0f496a5-efc4-4b52-959d-5e95987cae8c" providerId="ADAL" clId="{46BE184E-840E-48D3-B624-C448522A216F}" dt="2026-02-09T15:09:03.769" v="1421" actId="20577"/>
          <ac:spMkLst>
            <pc:docMk/>
            <pc:sldMk cId="2153066084" sldId="141169037"/>
            <ac:spMk id="4" creationId="{F0AF6537-0039-7A5F-EA7B-CFE78B99E11A}"/>
          </ac:spMkLst>
        </pc:spChg>
        <pc:spChg chg="mod">
          <ac:chgData name="Mascha Theiler" userId="a0f496a5-efc4-4b52-959d-5e95987cae8c" providerId="ADAL" clId="{46BE184E-840E-48D3-B624-C448522A216F}" dt="2026-02-09T16:11:40.932" v="1662" actId="207"/>
          <ac:spMkLst>
            <pc:docMk/>
            <pc:sldMk cId="2153066084" sldId="141169037"/>
            <ac:spMk id="11" creationId="{88DC3B52-7EB5-BF00-65C3-EE0AC5D4CB3F}"/>
          </ac:spMkLst>
        </pc:spChg>
        <pc:graphicFrameChg chg="mod modGraphic">
          <ac:chgData name="Mascha Theiler" userId="a0f496a5-efc4-4b52-959d-5e95987cae8c" providerId="ADAL" clId="{46BE184E-840E-48D3-B624-C448522A216F}" dt="2026-02-09T16:13:57.364" v="1741" actId="20577"/>
          <ac:graphicFrameMkLst>
            <pc:docMk/>
            <pc:sldMk cId="2153066084" sldId="141169037"/>
            <ac:graphicFrameMk id="7" creationId="{DD481973-082B-9DCC-C77B-27391A3F3E1E}"/>
          </ac:graphicFrameMkLst>
        </pc:graphicFrameChg>
        <pc:graphicFrameChg chg="mod modGraphic">
          <ac:chgData name="Mascha Theiler" userId="a0f496a5-efc4-4b52-959d-5e95987cae8c" providerId="ADAL" clId="{46BE184E-840E-48D3-B624-C448522A216F}" dt="2026-02-09T16:23:26.884" v="1914" actId="1076"/>
          <ac:graphicFrameMkLst>
            <pc:docMk/>
            <pc:sldMk cId="2153066084" sldId="141169037"/>
            <ac:graphicFrameMk id="15" creationId="{2AFF2146-C8BA-1B9B-580B-2213307D9DDD}"/>
          </ac:graphicFrameMkLst>
        </pc:graphicFrameChg>
      </pc:sldChg>
      <pc:sldChg chg="modSp new del mod">
        <pc:chgData name="Mascha Theiler" userId="a0f496a5-efc4-4b52-959d-5e95987cae8c" providerId="ADAL" clId="{46BE184E-840E-48D3-B624-C448522A216F}" dt="2026-02-09T14:11:44.673" v="537" actId="47"/>
        <pc:sldMkLst>
          <pc:docMk/>
          <pc:sldMk cId="677763649" sldId="141169038"/>
        </pc:sldMkLst>
        <pc:spChg chg="mod">
          <ac:chgData name="Mascha Theiler" userId="a0f496a5-efc4-4b52-959d-5e95987cae8c" providerId="ADAL" clId="{46BE184E-840E-48D3-B624-C448522A216F}" dt="2026-02-09T14:11:25.220" v="526" actId="113"/>
          <ac:spMkLst>
            <pc:docMk/>
            <pc:sldMk cId="677763649" sldId="141169038"/>
            <ac:spMk id="3" creationId="{96EC9B19-24CC-DF09-4D05-270ED6C255A0}"/>
          </ac:spMkLst>
        </pc:spChg>
      </pc:sldChg>
      <pc:sldChg chg="modSp new del mod">
        <pc:chgData name="Mascha Theiler" userId="a0f496a5-efc4-4b52-959d-5e95987cae8c" providerId="ADAL" clId="{46BE184E-840E-48D3-B624-C448522A216F}" dt="2026-02-09T14:16:50.665" v="718" actId="47"/>
        <pc:sldMkLst>
          <pc:docMk/>
          <pc:sldMk cId="707236336" sldId="141169038"/>
        </pc:sldMkLst>
        <pc:spChg chg="mod">
          <ac:chgData name="Mascha Theiler" userId="a0f496a5-efc4-4b52-959d-5e95987cae8c" providerId="ADAL" clId="{46BE184E-840E-48D3-B624-C448522A216F}" dt="2026-02-09T14:16:29.445" v="697" actId="113"/>
          <ac:spMkLst>
            <pc:docMk/>
            <pc:sldMk cId="707236336" sldId="141169038"/>
            <ac:spMk id="5" creationId="{130501AA-0668-9E67-59ED-8353C1B578FB}"/>
          </ac:spMkLst>
        </pc:spChg>
      </pc:sldChg>
      <pc:sldChg chg="delSp modSp new del mod">
        <pc:chgData name="Mascha Theiler" userId="a0f496a5-efc4-4b52-959d-5e95987cae8c" providerId="ADAL" clId="{46BE184E-840E-48D3-B624-C448522A216F}" dt="2026-02-09T15:06:43.796" v="1353" actId="47"/>
        <pc:sldMkLst>
          <pc:docMk/>
          <pc:sldMk cId="946100367" sldId="141169038"/>
        </pc:sldMkLst>
        <pc:spChg chg="mod">
          <ac:chgData name="Mascha Theiler" userId="a0f496a5-efc4-4b52-959d-5e95987cae8c" providerId="ADAL" clId="{46BE184E-840E-48D3-B624-C448522A216F}" dt="2026-02-09T15:06:09.944" v="1345" actId="113"/>
          <ac:spMkLst>
            <pc:docMk/>
            <pc:sldMk cId="946100367" sldId="141169038"/>
            <ac:spMk id="5" creationId="{53085F57-99E9-E9AC-DC19-D98D77359E6F}"/>
          </ac:spMkLst>
        </pc:spChg>
        <pc:spChg chg="del">
          <ac:chgData name="Mascha Theiler" userId="a0f496a5-efc4-4b52-959d-5e95987cae8c" providerId="ADAL" clId="{46BE184E-840E-48D3-B624-C448522A216F}" dt="2026-02-09T15:05:26.670" v="1340" actId="478"/>
          <ac:spMkLst>
            <pc:docMk/>
            <pc:sldMk cId="946100367" sldId="141169038"/>
            <ac:spMk id="6" creationId="{2EDAD859-CF4C-2F7A-B90A-C1A506D7057C}"/>
          </ac:spMkLst>
        </pc:spChg>
      </pc:sldChg>
      <pc:sldChg chg="modSp new del mod">
        <pc:chgData name="Mascha Theiler" userId="a0f496a5-efc4-4b52-959d-5e95987cae8c" providerId="ADAL" clId="{46BE184E-840E-48D3-B624-C448522A216F}" dt="2026-02-09T14:41:24.900" v="845" actId="47"/>
        <pc:sldMkLst>
          <pc:docMk/>
          <pc:sldMk cId="1428588080" sldId="141169038"/>
        </pc:sldMkLst>
        <pc:spChg chg="mod">
          <ac:chgData name="Mascha Theiler" userId="a0f496a5-efc4-4b52-959d-5e95987cae8c" providerId="ADAL" clId="{46BE184E-840E-48D3-B624-C448522A216F}" dt="2026-02-09T14:41:03.513" v="843" actId="108"/>
          <ac:spMkLst>
            <pc:docMk/>
            <pc:sldMk cId="1428588080" sldId="141169038"/>
            <ac:spMk id="3" creationId="{6E46458D-0AE2-9274-39FC-5923BB6FF9A9}"/>
          </ac:spMkLst>
        </pc:spChg>
      </pc:sldChg>
      <pc:sldChg chg="modSp new del mod">
        <pc:chgData name="Mascha Theiler" userId="a0f496a5-efc4-4b52-959d-5e95987cae8c" providerId="ADAL" clId="{46BE184E-840E-48D3-B624-C448522A216F}" dt="2026-02-09T15:28:49.252" v="1440" actId="47"/>
        <pc:sldMkLst>
          <pc:docMk/>
          <pc:sldMk cId="1442290202" sldId="141169038"/>
        </pc:sldMkLst>
        <pc:spChg chg="mod">
          <ac:chgData name="Mascha Theiler" userId="a0f496a5-efc4-4b52-959d-5e95987cae8c" providerId="ADAL" clId="{46BE184E-840E-48D3-B624-C448522A216F}" dt="2026-02-09T15:28:21.828" v="1437" actId="108"/>
          <ac:spMkLst>
            <pc:docMk/>
            <pc:sldMk cId="1442290202" sldId="141169038"/>
            <ac:spMk id="3" creationId="{58AB1CE1-98ED-0C7E-A129-44C3E85430B6}"/>
          </ac:spMkLst>
        </pc:spChg>
      </pc:sldChg>
      <pc:sldChg chg="modSp new del mod">
        <pc:chgData name="Mascha Theiler" userId="a0f496a5-efc4-4b52-959d-5e95987cae8c" providerId="ADAL" clId="{46BE184E-840E-48D3-B624-C448522A216F}" dt="2026-02-09T15:03:58.073" v="1256" actId="47"/>
        <pc:sldMkLst>
          <pc:docMk/>
          <pc:sldMk cId="1460696177" sldId="141169038"/>
        </pc:sldMkLst>
        <pc:spChg chg="mod">
          <ac:chgData name="Mascha Theiler" userId="a0f496a5-efc4-4b52-959d-5e95987cae8c" providerId="ADAL" clId="{46BE184E-840E-48D3-B624-C448522A216F}" dt="2026-02-09T15:03:45.840" v="1254" actId="113"/>
          <ac:spMkLst>
            <pc:docMk/>
            <pc:sldMk cId="1460696177" sldId="141169038"/>
            <ac:spMk id="3" creationId="{2A7BED78-8A3B-321F-BBB6-5BFC8A392E29}"/>
          </ac:spMkLst>
        </pc:spChg>
      </pc:sldChg>
      <pc:sldChg chg="modSp new del mod">
        <pc:chgData name="Mascha Theiler" userId="a0f496a5-efc4-4b52-959d-5e95987cae8c" providerId="ADAL" clId="{46BE184E-840E-48D3-B624-C448522A216F}" dt="2026-02-09T14:46:59.283" v="938" actId="47"/>
        <pc:sldMkLst>
          <pc:docMk/>
          <pc:sldMk cId="1878314754" sldId="141169038"/>
        </pc:sldMkLst>
        <pc:spChg chg="mod">
          <ac:chgData name="Mascha Theiler" userId="a0f496a5-efc4-4b52-959d-5e95987cae8c" providerId="ADAL" clId="{46BE184E-840E-48D3-B624-C448522A216F}" dt="2026-02-09T14:46:22.461" v="913" actId="113"/>
          <ac:spMkLst>
            <pc:docMk/>
            <pc:sldMk cId="1878314754" sldId="141169038"/>
            <ac:spMk id="3" creationId="{792586EE-E1FE-5F8D-5719-C23FDB053955}"/>
          </ac:spMkLst>
        </pc:spChg>
      </pc:sldChg>
      <pc:sldChg chg="modSp new del mod">
        <pc:chgData name="Mascha Theiler" userId="a0f496a5-efc4-4b52-959d-5e95987cae8c" providerId="ADAL" clId="{46BE184E-840E-48D3-B624-C448522A216F}" dt="2026-02-09T14:06:02.616" v="432" actId="47"/>
        <pc:sldMkLst>
          <pc:docMk/>
          <pc:sldMk cId="1921702282" sldId="141169038"/>
        </pc:sldMkLst>
        <pc:spChg chg="mod">
          <ac:chgData name="Mascha Theiler" userId="a0f496a5-efc4-4b52-959d-5e95987cae8c" providerId="ADAL" clId="{46BE184E-840E-48D3-B624-C448522A216F}" dt="2026-02-09T14:04:45.540" v="422" actId="20577"/>
          <ac:spMkLst>
            <pc:docMk/>
            <pc:sldMk cId="1921702282" sldId="141169038"/>
            <ac:spMk id="3" creationId="{CEC2A2FD-421D-E201-CDC3-AB6A05205AFB}"/>
          </ac:spMkLst>
        </pc:spChg>
      </pc:sldChg>
      <pc:sldChg chg="modSp new del mod">
        <pc:chgData name="Mascha Theiler" userId="a0f496a5-efc4-4b52-959d-5e95987cae8c" providerId="ADAL" clId="{46BE184E-840E-48D3-B624-C448522A216F}" dt="2026-02-09T14:18:34.600" v="749" actId="47"/>
        <pc:sldMkLst>
          <pc:docMk/>
          <pc:sldMk cId="3149677630" sldId="141169038"/>
        </pc:sldMkLst>
        <pc:spChg chg="mod">
          <ac:chgData name="Mascha Theiler" userId="a0f496a5-efc4-4b52-959d-5e95987cae8c" providerId="ADAL" clId="{46BE184E-840E-48D3-B624-C448522A216F}" dt="2026-02-09T14:18:09.390" v="728" actId="113"/>
          <ac:spMkLst>
            <pc:docMk/>
            <pc:sldMk cId="3149677630" sldId="141169038"/>
            <ac:spMk id="5" creationId="{F989E5D1-1BC8-1A09-FBC5-5081E2E78E3C}"/>
          </ac:spMkLst>
        </pc:spChg>
      </pc:sldChg>
      <pc:sldChg chg="modSp new del mod">
        <pc:chgData name="Mascha Theiler" userId="a0f496a5-efc4-4b52-959d-5e95987cae8c" providerId="ADAL" clId="{46BE184E-840E-48D3-B624-C448522A216F}" dt="2026-02-09T15:08:21.382" v="1362" actId="47"/>
        <pc:sldMkLst>
          <pc:docMk/>
          <pc:sldMk cId="3443262598" sldId="141169038"/>
        </pc:sldMkLst>
        <pc:spChg chg="mod">
          <ac:chgData name="Mascha Theiler" userId="a0f496a5-efc4-4b52-959d-5e95987cae8c" providerId="ADAL" clId="{46BE184E-840E-48D3-B624-C448522A216F}" dt="2026-02-09T15:08:11.964" v="1360" actId="113"/>
          <ac:spMkLst>
            <pc:docMk/>
            <pc:sldMk cId="3443262598" sldId="141169038"/>
            <ac:spMk id="5" creationId="{E8241436-267A-EB80-DAF6-155D5489877B}"/>
          </ac:spMkLst>
        </pc:spChg>
      </pc:sldChg>
      <pc:sldChg chg="modSp new del mod">
        <pc:chgData name="Mascha Theiler" userId="a0f496a5-efc4-4b52-959d-5e95987cae8c" providerId="ADAL" clId="{46BE184E-840E-48D3-B624-C448522A216F}" dt="2026-02-09T14:23:23.650" v="792" actId="47"/>
        <pc:sldMkLst>
          <pc:docMk/>
          <pc:sldMk cId="3454002315" sldId="141169038"/>
        </pc:sldMkLst>
        <pc:spChg chg="mod">
          <ac:chgData name="Mascha Theiler" userId="a0f496a5-efc4-4b52-959d-5e95987cae8c" providerId="ADAL" clId="{46BE184E-840E-48D3-B624-C448522A216F}" dt="2026-02-09T14:22:52.127" v="770" actId="108"/>
          <ac:spMkLst>
            <pc:docMk/>
            <pc:sldMk cId="3454002315" sldId="141169038"/>
            <ac:spMk id="3" creationId="{B295B841-B319-E636-9741-F8D04CF2983F}"/>
          </ac:spMkLst>
        </pc:spChg>
      </pc:sldChg>
      <pc:sldChg chg="modSp new del mod">
        <pc:chgData name="Mascha Theiler" userId="a0f496a5-efc4-4b52-959d-5e95987cae8c" providerId="ADAL" clId="{46BE184E-840E-48D3-B624-C448522A216F}" dt="2026-02-09T14:01:59.012" v="312" actId="47"/>
        <pc:sldMkLst>
          <pc:docMk/>
          <pc:sldMk cId="3750865192" sldId="141169038"/>
        </pc:sldMkLst>
        <pc:spChg chg="mod">
          <ac:chgData name="Mascha Theiler" userId="a0f496a5-efc4-4b52-959d-5e95987cae8c" providerId="ADAL" clId="{46BE184E-840E-48D3-B624-C448522A216F}" dt="2026-02-09T14:01:11.832" v="282" actId="113"/>
          <ac:spMkLst>
            <pc:docMk/>
            <pc:sldMk cId="3750865192" sldId="141169038"/>
            <ac:spMk id="3" creationId="{3C7006BF-0F26-CB47-BB5D-A7217ACBEA5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8F80DD3-3AFC-4A79-B4BA-AC8BC786A0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06667C3-EB4D-41BF-81F4-5C90FD1CCD7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F816B2-DD47-47F9-8CDC-EC5DE92FEBEB}" type="datetimeFigureOut">
              <a:rPr lang="de-CH" smtClean="0"/>
              <a:t>09.02.2026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CB3D608-8DF0-405C-B2A5-084DA3CBD7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2B68E44-6084-4107-82FA-1E38D2E6F4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87BDEF-C530-4797-A24D-7BA3E89B931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9605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29FFCD-56F8-4FC8-BEF7-F28ED122B41A}" type="datetimeFigureOut">
              <a:rPr lang="de-CH" smtClean="0"/>
              <a:t>09.02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D86079-095A-4E71-BEF6-8608F5E06A2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41429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1B52517-356E-4AD2-838B-A362D8748B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6" cy="569977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92300BBC-5B32-4FE4-94DA-4FF018B107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542288"/>
            <a:ext cx="6094651" cy="3276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CED6A25-F066-4E23-AE85-BC02EEE44F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7149" y="556236"/>
            <a:ext cx="3435672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58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2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1900" y="1808163"/>
            <a:ext cx="5400675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1395E2B-B96C-491F-B2A5-60462DADA5B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8711D34-EF57-4AC8-B9DF-4DB7BB930C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990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3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1" y="1808163"/>
            <a:ext cx="3455988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DB498D-4098-4521-B062-56D2A2C1AD7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F7B9A34-EA56-4469-B2A6-D27AC0BFB8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214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>
            <a:lvl1pPr>
              <a:defRPr>
                <a:solidFill>
                  <a:srgbClr val="83D0F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2E7AC46-F7D7-4A89-A024-1E72D1254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374331F-D8A9-4F7E-8969-B7F2205BDA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0954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Text 3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4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2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800D5217-869C-45D9-80A7-0DA32B326E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3ACCC25D-B484-4531-8528-6A15A76411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0048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61974633-B512-448B-A902-2B50803F1F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56589" y="1808163"/>
            <a:ext cx="3455986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866047-B472-4825-A46C-F932487ECDD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61757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1016FEE6-78F1-4711-9761-1435CC0DDB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7212" y="1808164"/>
            <a:ext cx="7824787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3887789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0F16A9-EC3C-44FF-A3E6-99CDF05D80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3165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1016FEE6-78F1-4711-9761-1435CC0DDB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7212" y="1808164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3887789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05BC3863-FF56-4674-96D7-E6AE7F0B149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ACE071-3A4B-4C64-903D-BC44C53569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99376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, Text und 1 Bild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6588" y="6143302"/>
            <a:ext cx="3455987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7345362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1808163"/>
            <a:ext cx="7777164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C04AFD27-6BD1-4C7F-9625-00D3A35FFA0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63817A-68DB-4A7F-A231-3B08ADCF97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88915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Untertitel, 2 Texte und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BB7196D-B04D-43F7-9BD1-58AF3D0BA6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6588" y="6143302"/>
            <a:ext cx="3455987" cy="28800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00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Legend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67B133D6-A2A9-443C-994B-305F16450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60DC21B-1A24-482B-9FFE-E8D8C5D31F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808163"/>
            <a:ext cx="3455990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8" name="Bildplatzhalter 15">
            <a:extLst>
              <a:ext uri="{FF2B5EF4-FFF2-40B4-BE49-F238E27FC236}">
                <a16:creationId xmlns:a16="http://schemas.microsoft.com/office/drawing/2014/main" id="{05BC3863-FF56-4674-96D7-E6AE7F0B149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56589" y="1808163"/>
            <a:ext cx="3455989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ACE071-3A4B-4C64-903D-BC44C53569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6A4CC17-C63B-4BD5-B8BD-14373FDB6F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7213" y="2565400"/>
            <a:ext cx="3455988" cy="34559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098EC0EB-A527-477E-A028-FC0206FE167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67212" y="1808163"/>
            <a:ext cx="3455990" cy="587375"/>
          </a:xfrm>
          <a:solidFill>
            <a:srgbClr val="C95B40"/>
          </a:solidFill>
        </p:spPr>
        <p:txBody>
          <a:bodyPr lIns="144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19986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orient="horz" pos="1616" userDrawn="1">
          <p15:clr>
            <a:srgbClr val="F26B43"/>
          </p15:clr>
        </p15:guide>
        <p15:guide id="6" orient="horz" pos="1502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FCCBCA0-F762-4AF6-BC1E-8B4EFEBFF5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808162"/>
            <a:ext cx="11233150" cy="3240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CH" dirty="0"/>
              <a:t>Tabellentitel</a:t>
            </a:r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E966207E-040F-4448-8002-8D99BB16902A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79425" y="2205038"/>
            <a:ext cx="11233150" cy="3816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395514-9053-4085-B86A-B357E3FF245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34821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  <p15:guide id="7" orient="horz" pos="1389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FCCBCA0-F762-4AF6-BC1E-8B4EFEBFF5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808162"/>
            <a:ext cx="11233150" cy="3240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CH" dirty="0"/>
              <a:t>Tabellentitel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A96B893C-8C0A-47C9-AAFA-02CCC379EBAB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479425" y="2205038"/>
            <a:ext cx="11233150" cy="3816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84122FE-7640-493F-A69C-4B38DA0BBD8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73977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  <p15:guide id="7" orient="horz" pos="1389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3756348-92CE-48FB-BE1E-E63DF05B43E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91FF93E-FF62-4AB4-A408-E246DBCAE3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7996" y="6027010"/>
            <a:ext cx="2514605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white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CED6A25-F066-4E23-AE85-BC02EEE44F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569" y="556236"/>
            <a:ext cx="3406830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084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227160-40CF-44D8-BF7A-A29346368B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8C031CB-4498-4B2A-B1FF-E203CF624E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358925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A01859C-6A56-4035-A25E-2F26DAC14F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4D0B584-B566-4C05-B164-CC40FC9BF6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7214" y="6143302"/>
            <a:ext cx="7345362" cy="288000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900" i="1"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Quellenangab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A927E0-38B0-4DA0-964B-81C2803937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1345B3-ED98-45E0-BA80-D09A6F89FE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01952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4" pos="5201" userDrawn="1">
          <p15:clr>
            <a:srgbClr val="F26B43"/>
          </p15:clr>
        </p15:guide>
        <p15:guide id="5" pos="4929" userDrawn="1">
          <p15:clr>
            <a:srgbClr val="F26B43"/>
          </p15:clr>
        </p15:guide>
        <p15:guide id="6" pos="3976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E35E8790-E54B-44AF-A84B-5186FFAB7B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0649" cy="6021388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542288"/>
            <a:ext cx="6025739" cy="566975"/>
          </a:xfrm>
          <a:solidFill>
            <a:srgbClr val="FFFFFF"/>
          </a:solidFill>
        </p:spPr>
        <p:txBody>
          <a:bodyPr wrap="none" lIns="72000" rIns="72000" bIns="3600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6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/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602904"/>
            <a:ext cx="3455986" cy="1704175"/>
          </a:xfrm>
          <a:solidFill>
            <a:schemeClr val="bg1"/>
          </a:solidFill>
        </p:spPr>
        <p:txBody>
          <a:bodyPr wrap="square" lIns="72000" tIns="36000" rIns="72000" bIns="36000">
            <a:spAutoFit/>
          </a:bodyPr>
          <a:lstStyle>
            <a:lvl1pPr>
              <a:defRPr>
                <a:solidFill>
                  <a:srgbClr val="5298BD"/>
                </a:solidFill>
              </a:defRPr>
            </a:lvl1pPr>
            <a:lvl2pPr>
              <a:defRPr>
                <a:solidFill>
                  <a:srgbClr val="5298BD"/>
                </a:solidFill>
              </a:defRPr>
            </a:lvl2pPr>
            <a:lvl3pPr>
              <a:defRPr>
                <a:solidFill>
                  <a:srgbClr val="5298BD"/>
                </a:solidFill>
              </a:defRPr>
            </a:lvl3pPr>
            <a:lvl4pPr>
              <a:defRPr>
                <a:solidFill>
                  <a:srgbClr val="5298BD"/>
                </a:solidFill>
              </a:defRPr>
            </a:lvl4pPr>
            <a:lvl5pPr>
              <a:defRPr>
                <a:solidFill>
                  <a:srgbClr val="5298BD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34A2E-935C-40A6-AF0E-94324F7765D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2855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638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80867C87-FB00-407B-82D2-B6458105D50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5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532731"/>
            <a:ext cx="3455986" cy="1631472"/>
          </a:xfrm>
          <a:noFill/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FCA4BFA-0DF0-4698-9A63-B903A8268AF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76250"/>
            <a:ext cx="5916684" cy="566975"/>
          </a:xfrm>
        </p:spPr>
        <p:txBody>
          <a:bodyPr wrap="none" bIns="3600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B16A90F-5D8E-4256-8C0C-B4B0E5A0B9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878E44C9-BA30-4A6A-884C-12383DC178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674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593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E876316C-E7BC-4BB0-AC47-D5B0ED311A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BC931C-C5AE-403F-B20B-9FBB2C303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256589" y="1808163"/>
            <a:ext cx="3455985" cy="587375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buNone/>
              <a:defRPr sz="2800" b="1">
                <a:solidFill>
                  <a:srgbClr val="FFFFFF"/>
                </a:solidFill>
              </a:defRPr>
            </a:lvl1pPr>
            <a:lvl2pPr marL="216000" indent="0">
              <a:buNone/>
              <a:defRPr b="1"/>
            </a:lvl2pPr>
            <a:lvl3pPr marL="432000" indent="0">
              <a:buNone/>
              <a:defRPr b="1"/>
            </a:lvl3pPr>
            <a:lvl4pPr marL="648000" indent="0">
              <a:buNone/>
              <a:defRPr b="1"/>
            </a:lvl4pPr>
            <a:lvl5pPr marL="864000" indent="0">
              <a:buNone/>
              <a:defRPr b="1"/>
            </a:lvl5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C244B8-79A1-4A9F-9121-9F85746A7E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263363" y="2532731"/>
            <a:ext cx="3455986" cy="1631472"/>
          </a:xfrm>
          <a:noFill/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FCA4BFA-0DF0-4698-9A63-B903A8268AF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76250"/>
            <a:ext cx="5916684" cy="566975"/>
          </a:xfrm>
        </p:spPr>
        <p:txBody>
          <a:bodyPr wrap="none" bIns="3600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868C61-8E82-41C8-B1F9-A4DA8E5857D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CBD9C3C2-C1BB-4DB7-A150-29331FB5D1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6338112"/>
            <a:ext cx="849632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291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2" userDrawn="1">
          <p15:clr>
            <a:srgbClr val="F26B43"/>
          </p15:clr>
        </p15:guide>
        <p15:guide id="2" orient="horz" pos="1593" userDrawn="1">
          <p15:clr>
            <a:srgbClr val="F26B43"/>
          </p15:clr>
        </p15:guide>
        <p15:guide id="3" pos="5201" userDrawn="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 dirty="0"/>
          </a:p>
        </p:txBody>
      </p:sp>
      <p:sp>
        <p:nvSpPr>
          <p:cNvPr id="7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75737293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2 Bilder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5201" y="1648167"/>
            <a:ext cx="4492711" cy="46637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801285" y="622300"/>
            <a:ext cx="9882716" cy="8969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half" idx="2"/>
          </p:nvPr>
        </p:nvSpPr>
        <p:spPr>
          <a:xfrm>
            <a:off x="6570133" y="1657350"/>
            <a:ext cx="4504268" cy="465454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670687967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/>
          <p:cNvSpPr>
            <a:spLocks noChangeArrowheads="1"/>
          </p:cNvSpPr>
          <p:nvPr userDrawn="1"/>
        </p:nvSpPr>
        <p:spPr bwMode="auto">
          <a:xfrm>
            <a:off x="1780118" y="0"/>
            <a:ext cx="1200149" cy="179388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90500" indent="-1905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lnSpc>
                <a:spcPts val="26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Times" panose="02020603050405020304" pitchFamily="18" charset="0"/>
              <a:tabLst>
                <a:tab pos="190500" algn="l"/>
                <a:tab pos="195263" algn="l"/>
                <a:tab pos="762000" algn="l"/>
                <a:tab pos="8001000" algn="r"/>
              </a:tabLst>
              <a:defRPr sz="2200">
                <a:solidFill>
                  <a:schemeClr val="tx1"/>
                </a:solidFill>
                <a:latin typeface="Verdan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lnSpc>
                <a:spcPts val="2600"/>
              </a:lnSpc>
              <a:spcBef>
                <a:spcPts val="400"/>
              </a:spcBef>
              <a:buClr>
                <a:schemeClr val="tx1"/>
              </a:buClr>
              <a:buFont typeface="Times" panose="02020603050405020304" pitchFamily="18" charset="0"/>
              <a:buNone/>
              <a:defRPr/>
            </a:pPr>
            <a:endParaRPr lang="fr-FR" altLang="de-DE" sz="2200">
              <a:solidFill>
                <a:srgbClr val="FF3300"/>
              </a:solidFill>
            </a:endParaRPr>
          </a:p>
        </p:txBody>
      </p:sp>
      <p:sp>
        <p:nvSpPr>
          <p:cNvPr id="6" name="Bildplatzhalter 2"/>
          <p:cNvSpPr>
            <a:spLocks noGrp="1"/>
          </p:cNvSpPr>
          <p:nvPr>
            <p:ph type="pic" idx="1"/>
          </p:nvPr>
        </p:nvSpPr>
        <p:spPr>
          <a:xfrm>
            <a:off x="1780117" y="0"/>
            <a:ext cx="10416000" cy="3600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52000" y="4065400"/>
            <a:ext cx="9600000" cy="1992500"/>
          </a:xfrm>
        </p:spPr>
        <p:txBody>
          <a:bodyPr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Bildplatzhalter 11"/>
          <p:cNvSpPr>
            <a:spLocks noGrp="1"/>
          </p:cNvSpPr>
          <p:nvPr>
            <p:ph type="pic" sz="quarter" idx="12" hasCustomPrompt="1"/>
          </p:nvPr>
        </p:nvSpPr>
        <p:spPr>
          <a:xfrm>
            <a:off x="1780116" y="0"/>
            <a:ext cx="10411884" cy="3608388"/>
          </a:xfrm>
          <a:custGeom>
            <a:avLst/>
            <a:gdLst>
              <a:gd name="connsiteX0" fmla="*/ 900112 w 10775950"/>
              <a:gd name="connsiteY0" fmla="*/ 0 h 3608388"/>
              <a:gd name="connsiteX1" fmla="*/ 10775950 w 10775950"/>
              <a:gd name="connsiteY1" fmla="*/ 0 h 3608388"/>
              <a:gd name="connsiteX2" fmla="*/ 10775950 w 10775950"/>
              <a:gd name="connsiteY2" fmla="*/ 3608388 h 3608388"/>
              <a:gd name="connsiteX3" fmla="*/ 0 w 10775950"/>
              <a:gd name="connsiteY3" fmla="*/ 3608388 h 3608388"/>
              <a:gd name="connsiteX4" fmla="*/ 0 w 10775950"/>
              <a:gd name="connsiteY4" fmla="*/ 179388 h 3608388"/>
              <a:gd name="connsiteX5" fmla="*/ 900112 w 10775950"/>
              <a:gd name="connsiteY5" fmla="*/ 179388 h 360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5950" h="3608388">
                <a:moveTo>
                  <a:pt x="900112" y="0"/>
                </a:moveTo>
                <a:lnTo>
                  <a:pt x="10775950" y="0"/>
                </a:lnTo>
                <a:lnTo>
                  <a:pt x="10775950" y="3608388"/>
                </a:lnTo>
                <a:lnTo>
                  <a:pt x="0" y="3608388"/>
                </a:lnTo>
                <a:lnTo>
                  <a:pt x="0" y="179388"/>
                </a:lnTo>
                <a:lnTo>
                  <a:pt x="900112" y="1793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r>
              <a:rPr lang="de-CH" dirty="0"/>
              <a:t>Bild mit Klicken hinzufügen </a:t>
            </a:r>
          </a:p>
          <a:p>
            <a:r>
              <a:rPr lang="de-CH" dirty="0"/>
              <a:t>(tauschen: Bild zuerst löschen</a:t>
            </a:r>
            <a:br>
              <a:rPr lang="de-CH" dirty="0"/>
            </a:br>
            <a:r>
              <a:rPr lang="de-CH" dirty="0"/>
              <a:t>und Layout zurücksetzen)</a:t>
            </a:r>
          </a:p>
        </p:txBody>
      </p:sp>
      <p:sp>
        <p:nvSpPr>
          <p:cNvPr id="7" name="Bildplatzhalter 2"/>
          <p:cNvSpPr>
            <a:spLocks noGrp="1"/>
          </p:cNvSpPr>
          <p:nvPr>
            <p:ph type="pic" idx="13"/>
          </p:nvPr>
        </p:nvSpPr>
        <p:spPr>
          <a:xfrm>
            <a:off x="1780118" y="0"/>
            <a:ext cx="10416000" cy="3600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 dirty="0"/>
          </a:p>
        </p:txBody>
      </p:sp>
      <p:sp>
        <p:nvSpPr>
          <p:cNvPr id="12" name="Date Placeholder 4"/>
          <p:cNvSpPr txBox="1">
            <a:spLocks/>
          </p:cNvSpPr>
          <p:nvPr userDrawn="1"/>
        </p:nvSpPr>
        <p:spPr>
          <a:xfrm>
            <a:off x="8847438" y="6434382"/>
            <a:ext cx="2504562" cy="423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Times New Roman" panose="02020603050405020304" pitchFamily="18" charset="0"/>
              </a:defRPr>
            </a:lvl9pPr>
          </a:lstStyle>
          <a:p>
            <a:pPr algn="r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28543123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 mit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B25FEC71-B714-418D-A1E5-B86CF26A07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DE38B4C-6C47-4A28-AAD9-EC91C7E2B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5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009E8B5-0CC3-46EC-9D76-74B19B4EAD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365" y="556236"/>
            <a:ext cx="3219238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3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26B43"/>
          </p15:clr>
        </p15:guide>
        <p15:guide id="2" pos="824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B25FEC71-B714-418D-A1E5-B86CF26A07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DE38B4C-6C47-4A28-AAD9-EC91C7E2B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96" y="6027010"/>
            <a:ext cx="2514606" cy="5699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CDF1A5-2E10-435E-AB39-1E5712B2840F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308099" y="3810066"/>
            <a:ext cx="10404475" cy="1110823"/>
          </a:xfrm>
        </p:spPr>
        <p:txBody>
          <a:bodyPr anchor="b"/>
          <a:lstStyle>
            <a:lvl1pPr algn="l">
              <a:lnSpc>
                <a:spcPct val="105000"/>
              </a:lnSpc>
              <a:defRPr sz="3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934516-FF07-4404-A282-FDD97413BA6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6095999" y="4988212"/>
            <a:ext cx="5616575" cy="9874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25D463-A601-4691-98CE-523CA6F6C4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308098" y="4988212"/>
            <a:ext cx="4571589" cy="987400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CH" dirty="0"/>
              <a:t>Name, Datu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009E8B5-0CC3-46EC-9D76-74B19B4EAD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149" y="556236"/>
            <a:ext cx="3435672" cy="64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234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824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1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11233150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0BC91F-675C-4A18-B78C-8C6DF19E07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20708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2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1900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B5B5BF3-945C-44C6-8CD2-14E5164C872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55184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3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35E508E-E5DE-4F61-8FB9-DFC4286D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9E40F-E323-4104-824E-8A6657E13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5001" y="1808163"/>
            <a:ext cx="3455988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FE4488-A457-4009-8948-097AF338E2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45189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26B43"/>
          </p15:clr>
        </p15:guide>
        <p15:guide id="2" pos="2751" userDrawn="1">
          <p15:clr>
            <a:srgbClr val="F26B43"/>
          </p15:clr>
        </p15:guide>
        <p15:guide id="3" pos="4929" userDrawn="1">
          <p15:clr>
            <a:srgbClr val="F26B43"/>
          </p15:clr>
        </p15:guide>
        <p15:guide id="4" pos="5201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5400675" cy="42132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B5B5BF3-945C-44C6-8CD2-14E5164C872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6B108ABD-2127-4769-AAC2-3A4004117A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1902" y="1808164"/>
            <a:ext cx="5880097" cy="4213224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00572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26B43"/>
          </p15:clr>
        </p15:guide>
        <p15:guide id="2" pos="3976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EEE5DC-A33D-44AB-A2A8-4B5D291AB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4D479-3B15-4C02-B897-E5FF054F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5D9126-2DB4-45E2-A996-6E674F41A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NFP 73 – Nachhaltige Wirtschaf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8900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1sp dunkelblau">
    <p:bg>
      <p:bgPr>
        <a:solidFill>
          <a:srgbClr val="0429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36972-5B78-4D45-B17C-8D7BB76A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0B95C8-A3D7-4986-B9AA-7D64F5AF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11233150" cy="42132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D6B1742-4D1F-47FF-9A10-80FDD20EF6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CB8C82-6A53-4835-BD26-E2F1C5E542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CH"/>
              <a:t>NFP 73 – Nachhaltige Wirtschaft</a:t>
            </a:r>
            <a:endParaRPr lang="de-CH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8F8B613-62C6-4AD3-B362-20AD708B4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479425" y="6338112"/>
            <a:ext cx="849632" cy="2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58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E449BE-9C84-5352-D620-700C1FB3A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7411748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7772400" imgH="10058400" progId="TCLayout.ActiveDocument.1">
                  <p:embed/>
                </p:oleObj>
              </mc:Choice>
              <mc:Fallback>
                <p:oleObj name="think-cell Slide" r:id="rId31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E449BE-9C84-5352-D620-700C1FB3A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BF24A-D497-4464-9FE1-B21BA5E76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04457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r>
              <a:rPr lang="de-CH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19F523-3EBF-4F93-9A66-53448027C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08163"/>
            <a:ext cx="11233150" cy="4213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dirty="0"/>
              <a:t>Mastertext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  <a:p>
            <a:pPr lvl="5"/>
            <a:r>
              <a:rPr lang="de-CH" dirty="0"/>
              <a:t>Sechste Ebene</a:t>
            </a:r>
          </a:p>
          <a:p>
            <a:pPr lvl="6"/>
            <a:r>
              <a:rPr lang="de-CH" dirty="0"/>
              <a:t>Siebte Ebene</a:t>
            </a:r>
          </a:p>
          <a:p>
            <a:pPr lvl="7"/>
            <a:r>
              <a:rPr lang="de-CH" dirty="0"/>
              <a:t>Achte Ebene</a:t>
            </a:r>
          </a:p>
          <a:p>
            <a:pPr lvl="8"/>
            <a:r>
              <a:rPr lang="de-CH" dirty="0"/>
              <a:t>Neun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0B453A-BCBA-46E5-8B51-6E5C8657A8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56589" y="6478264"/>
            <a:ext cx="3455986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76BE59D-4918-439E-9CBF-5840B2847889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6079920-E225-4621-8DA4-1E6F9F7CF6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5555" y="6385781"/>
            <a:ext cx="41148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CH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CH" dirty="0"/>
              <a:t>NFP 73 – Nachhaltige Wirtschaf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1A95CB-8F54-4797-8C36-C87C7343B5D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79425" y="6338112"/>
            <a:ext cx="849632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238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9" r:id="rId2"/>
    <p:sldLayoutId id="2147483680" r:id="rId3"/>
    <p:sldLayoutId id="2147483661" r:id="rId4"/>
    <p:sldLayoutId id="2147483663" r:id="rId5"/>
    <p:sldLayoutId id="2147483664" r:id="rId6"/>
    <p:sldLayoutId id="2147483682" r:id="rId7"/>
    <p:sldLayoutId id="2147483654" r:id="rId8"/>
    <p:sldLayoutId id="2147483669" r:id="rId9"/>
    <p:sldLayoutId id="2147483671" r:id="rId10"/>
    <p:sldLayoutId id="2147483670" r:id="rId11"/>
    <p:sldLayoutId id="2147483672" r:id="rId12"/>
    <p:sldLayoutId id="2147483667" r:id="rId13"/>
    <p:sldLayoutId id="2147483668" r:id="rId14"/>
    <p:sldLayoutId id="2147483677" r:id="rId15"/>
    <p:sldLayoutId id="2147483678" r:id="rId16"/>
    <p:sldLayoutId id="2147483681" r:id="rId17"/>
    <p:sldLayoutId id="2147483673" r:id="rId18"/>
    <p:sldLayoutId id="2147483674" r:id="rId19"/>
    <p:sldLayoutId id="2147483655" r:id="rId20"/>
    <p:sldLayoutId id="2147483650" r:id="rId21"/>
    <p:sldLayoutId id="2147483665" r:id="rId22"/>
    <p:sldLayoutId id="2147483666" r:id="rId23"/>
    <p:sldLayoutId id="2147483676" r:id="rId24"/>
    <p:sldLayoutId id="2147483683" r:id="rId25"/>
    <p:sldLayoutId id="2147483684" r:id="rId26"/>
    <p:sldLayoutId id="2147483685" r:id="rId27"/>
    <p:sldLayoutId id="2147483686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296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512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728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16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3" orient="horz" pos="1139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pos="302" userDrawn="1">
          <p15:clr>
            <a:srgbClr val="F26B43"/>
          </p15:clr>
        </p15:guide>
        <p15:guide id="6" pos="7378" userDrawn="1">
          <p15:clr>
            <a:srgbClr val="F26B43"/>
          </p15:clr>
        </p15:guide>
        <p15:guide id="11" orient="horz" pos="4156" userDrawn="1">
          <p15:clr>
            <a:srgbClr val="F26B43"/>
          </p15:clr>
        </p15:guide>
        <p15:guide id="12" orient="horz" pos="3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Relationship Id="rId5" Type="http://schemas.openxmlformats.org/officeDocument/2006/relationships/image" Target="../media/image22.jp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4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4" Type="http://schemas.openxmlformats.org/officeDocument/2006/relationships/image" Target="../media/image2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4" Type="http://schemas.openxmlformats.org/officeDocument/2006/relationships/image" Target="../media/image2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4" Type="http://schemas.openxmlformats.org/officeDocument/2006/relationships/image" Target="../media/image2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8.xml"/><Relationship Id="rId4" Type="http://schemas.openxmlformats.org/officeDocument/2006/relationships/image" Target="../media/image2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hyperlink" Target="https://www.youtube.com/watch?v=T6BVEi2QHpk" TargetMode="External"/><Relationship Id="rId5" Type="http://schemas.openxmlformats.org/officeDocument/2006/relationships/hyperlink" Target="https://nfp73.ch/download/95/230821_SNF_NFP73_PB_Maibach_EN.pdf?inline=true" TargetMode="External"/><Relationship Id="rId4" Type="http://schemas.openxmlformats.org/officeDocument/2006/relationships/image" Target="../media/image2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0.xml"/><Relationship Id="rId4" Type="http://schemas.openxmlformats.org/officeDocument/2006/relationships/image" Target="../media/image26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1.xml"/><Relationship Id="rId5" Type="http://schemas.openxmlformats.org/officeDocument/2006/relationships/image" Target="../media/image27.jpeg"/><Relationship Id="rId4" Type="http://schemas.openxmlformats.org/officeDocument/2006/relationships/image" Target="../media/image2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.xml"/><Relationship Id="rId4" Type="http://schemas.openxmlformats.org/officeDocument/2006/relationships/image" Target="../media/image28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30.png"/><Relationship Id="rId5" Type="http://schemas.openxmlformats.org/officeDocument/2006/relationships/hyperlink" Target="https://nfp73.ch/download/95/230821_SNF_NFP73_PB_Maibach_EN.pdf?inline=true" TargetMode="External"/><Relationship Id="rId4" Type="http://schemas.openxmlformats.org/officeDocument/2006/relationships/image" Target="../media/image29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5" Type="http://schemas.openxmlformats.org/officeDocument/2006/relationships/hyperlink" Target="https://nfp73.ch/en/projects/decarbonisation-of-the-transport-sector" TargetMode="External"/><Relationship Id="rId4" Type="http://schemas.openxmlformats.org/officeDocument/2006/relationships/image" Target="../media/image29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nfp73.ch/download/95/230821_SNF_NFP73_PB_Maibach_EN.pdf?inline=true" TargetMode="External"/><Relationship Id="rId2" Type="http://schemas.openxmlformats.org/officeDocument/2006/relationships/hyperlink" Target="https://nfp73.ch/download/62/230223_SNF_NFP73_PB_Schubert_DE.pdf?inline=true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hyperlink" Target="https://www.empa.ch/web/pfc/the-game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6" Type="http://schemas.openxmlformats.org/officeDocument/2006/relationships/hyperlink" Target="https://nfp73.ch/en/mediacenter/news/simulationsspiel-postfossilcities" TargetMode="External"/><Relationship Id="rId5" Type="http://schemas.openxmlformats.org/officeDocument/2006/relationships/hyperlink" Target="https://www.youtube.com/watch?v=Li7aOUhHjv4" TargetMode="External"/><Relationship Id="rId4" Type="http://schemas.openxmlformats.org/officeDocument/2006/relationships/image" Target="../media/image2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F2D30DA1-1303-AB4D-B6C7-53B97F07BAE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9857" b="9857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BBC741F-F36E-AFA0-3CD1-CD890CC408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CH" dirty="0"/>
              <a:t>Cities and Mobility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C410DC2-7478-767E-6704-A9ADE8F66B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000" dirty="0"/>
              <a:t>A learning module for the tertiary level</a:t>
            </a:r>
            <a:endParaRPr lang="en-GB" sz="2000" dirty="0"/>
          </a:p>
          <a:p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8CA6599-9A73-60AA-40A5-6CF26AEDA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637" y="5894560"/>
            <a:ext cx="2839454" cy="854098"/>
          </a:xfrm>
          <a:prstGeom prst="rect">
            <a:avLst/>
          </a:prstGeom>
        </p:spPr>
      </p:pic>
      <p:pic>
        <p:nvPicPr>
          <p:cNvPr id="4" name="Picture 2" descr="Green Hospital - Nationales Forschungsprogramm 73">
            <a:extLst>
              <a:ext uri="{FF2B5EF4-FFF2-40B4-BE49-F238E27FC236}">
                <a16:creationId xmlns:a16="http://schemas.microsoft.com/office/drawing/2014/main" id="{FBAE9916-F0A5-2FC5-52F1-3B2743D9E8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37" y="536391"/>
            <a:ext cx="3455470" cy="691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8939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B1D69A2-CC52-BC65-0A4A-8CCB6CE3B3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62468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1D69A2-CC52-BC65-0A4A-8CCB6CE3B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A3743F-C9F1-D349-3E71-285647B70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Post-fossil </a:t>
            </a:r>
            <a:r>
              <a:rPr lang="de-CH" dirty="0" err="1"/>
              <a:t>cities</a:t>
            </a:r>
            <a:r>
              <a:rPr lang="de-CH" dirty="0"/>
              <a:t> – Backgroun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D903A3-E0BE-8761-49B0-9CB4CC4F04C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09805A-AFFE-AC44-01DF-6C9AB0C9DE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563FF-EB32-58FA-BF76-49943C3D9B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o achieve the climate goals of the Paris Agreement, it is essential to actively reflect on the process of transforming cities through an</a:t>
            </a:r>
            <a:r>
              <a:rPr lang="en-US" b="1" dirty="0"/>
              <a:t> inter- and transdisciplinary </a:t>
            </a:r>
            <a:r>
              <a:rPr lang="en-US" dirty="0"/>
              <a:t>approach. This requires methods and tools such as </a:t>
            </a:r>
            <a:r>
              <a:rPr lang="en-US" b="1" dirty="0"/>
              <a:t>system modelling </a:t>
            </a:r>
            <a:r>
              <a:rPr lang="en-US" dirty="0"/>
              <a:t>and </a:t>
            </a:r>
            <a:r>
              <a:rPr lang="en-US" b="1" dirty="0"/>
              <a:t>games</a:t>
            </a:r>
            <a:r>
              <a:rPr lang="en-US" dirty="0"/>
              <a:t> that enable a </a:t>
            </a:r>
            <a:r>
              <a:rPr lang="en-US" b="1" dirty="0"/>
              <a:t>systems perspective </a:t>
            </a:r>
            <a:r>
              <a:rPr lang="en-US" dirty="0"/>
              <a:t>on </a:t>
            </a:r>
            <a:r>
              <a:rPr lang="en-US" b="1" dirty="0"/>
              <a:t>change</a:t>
            </a:r>
            <a:r>
              <a:rPr lang="en-US" dirty="0"/>
              <a:t>. Games foster </a:t>
            </a:r>
            <a:r>
              <a:rPr lang="en-US" b="1" dirty="0"/>
              <a:t>experiential learning </a:t>
            </a:r>
            <a:r>
              <a:rPr lang="en-US" dirty="0"/>
              <a:t>and </a:t>
            </a:r>
            <a:r>
              <a:rPr lang="en-US" b="1" dirty="0"/>
              <a:t>personal engagement </a:t>
            </a:r>
            <a:r>
              <a:rPr lang="en-US" dirty="0"/>
              <a:t>among participants, and system models allow them to test how effective policy measures might be.</a:t>
            </a:r>
            <a:endParaRPr lang="en-GB" dirty="0"/>
          </a:p>
          <a:p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BE5AC0-5EBB-B36D-3B93-AF3237793B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Background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5A4856-C050-D76D-6EAC-731AC93AF26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12" name="object 6">
            <a:extLst>
              <a:ext uri="{FF2B5EF4-FFF2-40B4-BE49-F238E27FC236}">
                <a16:creationId xmlns:a16="http://schemas.microsoft.com/office/drawing/2014/main" id="{0F2BE59F-E5FE-E68B-8C61-683F733DCA01}"/>
              </a:ext>
            </a:extLst>
          </p:cNvPr>
          <p:cNvPicPr>
            <a:picLocks noGrp="1"/>
          </p:cNvPicPr>
          <p:nvPr>
            <p:ph type="pic" sz="quarter" idx="16"/>
          </p:nvPr>
        </p:nvPicPr>
        <p:blipFill>
          <a:blip r:embed="rId5" cstate="print"/>
          <a:srcRect l="22640" r="22640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74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C1645-58DB-73AF-F0F8-C66844617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5920ECE-8094-AEDE-D5A1-5ABB519A69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7528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20ECE-8094-AEDE-D5A1-5ABB519A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71DC53-BBAF-5884-91DB-273A0D405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Post-fossil </a:t>
            </a:r>
            <a:r>
              <a:rPr lang="de-CH" dirty="0" err="1"/>
              <a:t>cities</a:t>
            </a:r>
            <a:r>
              <a:rPr lang="de-CH" dirty="0"/>
              <a:t> – </a:t>
            </a:r>
            <a:r>
              <a:rPr lang="de-CH" dirty="0" err="1"/>
              <a:t>Aim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A4C521-727D-263A-9818-1EEE35DB91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91A8C7-2923-F49A-EEC1-3E80E4CBF9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E90AC74-28E6-F139-823C-2C4BBBD91A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10616942" cy="3455988"/>
          </a:xfrm>
        </p:spPr>
        <p:txBody>
          <a:bodyPr/>
          <a:lstStyle/>
          <a:p>
            <a:r>
              <a:rPr lang="en-US" dirty="0"/>
              <a:t>The main goal of this project was to develop and apply a versatile simulation game that enables relevant </a:t>
            </a:r>
            <a:r>
              <a:rPr lang="en-US" b="1" dirty="0"/>
              <a:t>stakeholders</a:t>
            </a:r>
            <a:r>
              <a:rPr lang="en-US" dirty="0"/>
              <a:t> to identify and evaluate </a:t>
            </a:r>
            <a:r>
              <a:rPr lang="en-US" b="1" dirty="0"/>
              <a:t>transformation pathways </a:t>
            </a:r>
            <a:r>
              <a:rPr lang="en-US" dirty="0"/>
              <a:t>toward the city of the future while taking </a:t>
            </a:r>
            <a:r>
              <a:rPr lang="en-US" b="1" dirty="0"/>
              <a:t>ecological</a:t>
            </a:r>
            <a:r>
              <a:rPr lang="en-US" dirty="0"/>
              <a:t> and </a:t>
            </a:r>
            <a:r>
              <a:rPr lang="en-US" b="1" dirty="0"/>
              <a:t>social conditions</a:t>
            </a:r>
            <a:r>
              <a:rPr lang="en-US" dirty="0"/>
              <a:t> into account. In addition to elements such as roles, a game board, and action cards, the game includes a model of the </a:t>
            </a:r>
            <a:r>
              <a:rPr lang="en-US" b="1" dirty="0"/>
              <a:t>socioeconomic metabolism of the Swiss economy </a:t>
            </a:r>
            <a:r>
              <a:rPr lang="en-US" dirty="0"/>
              <a:t>(with a focus on housing and transport) as well as a software program to simulate this and supplementary models. In this way, players can test potential pathways toward a post-fossil city from a systems perspective.</a:t>
            </a:r>
          </a:p>
          <a:p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BDE2159-5F56-F017-D909-F9B385FD92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4" y="1808163"/>
            <a:ext cx="11241066" cy="587375"/>
          </a:xfrm>
        </p:spPr>
        <p:txBody>
          <a:bodyPr/>
          <a:lstStyle/>
          <a:p>
            <a:r>
              <a:rPr lang="de-CH" dirty="0" err="1"/>
              <a:t>Aim</a:t>
            </a:r>
            <a:endParaRPr lang="de-CH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7DBDDBC-9ACE-FFD8-2EDB-0B80EF4AF52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5844418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74115CA-F845-F155-96A8-54C48F0438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0070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4115CA-F845-F155-96A8-54C48F0438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C467F7-B0EC-B0E9-2CE0-99C9BF8B5D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Post-fossil </a:t>
            </a:r>
            <a:r>
              <a:rPr lang="de-CH" dirty="0" err="1"/>
              <a:t>cities</a:t>
            </a:r>
            <a:r>
              <a:rPr lang="de-CH" dirty="0"/>
              <a:t> – </a:t>
            </a:r>
            <a:r>
              <a:rPr lang="de-CH" dirty="0" err="1"/>
              <a:t>Results</a:t>
            </a:r>
            <a:r>
              <a:rPr lang="de-CH" dirty="0"/>
              <a:t> 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A0F70D-2FD4-D6B0-7984-91C19F09D8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Playing through the transformation to a post-fossil city</a:t>
            </a:r>
            <a:br>
              <a:rPr lang="en-US" dirty="0"/>
            </a:br>
            <a:r>
              <a:rPr lang="en-US" dirty="0"/>
              <a:t>With this simulation game, climate-change mitigation measures can be tested in a </a:t>
            </a:r>
            <a:r>
              <a:rPr lang="en-US" dirty="0">
                <a:solidFill>
                  <a:srgbClr val="83D0F5"/>
                </a:solidFill>
              </a:rPr>
              <a:t>collaborative, experimental environment, </a:t>
            </a:r>
            <a:r>
              <a:rPr lang="en-US" dirty="0"/>
              <a:t>allowing players to experience </a:t>
            </a:r>
            <a:r>
              <a:rPr lang="en-US" dirty="0">
                <a:solidFill>
                  <a:srgbClr val="83D0F5"/>
                </a:solidFill>
              </a:rPr>
              <a:t>synergies</a:t>
            </a:r>
            <a:r>
              <a:rPr lang="en-US" dirty="0"/>
              <a:t> and </a:t>
            </a:r>
            <a:r>
              <a:rPr lang="en-US" dirty="0">
                <a:solidFill>
                  <a:srgbClr val="83D0F5"/>
                </a:solidFill>
              </a:rPr>
              <a:t>trade-offs</a:t>
            </a:r>
            <a:r>
              <a:rPr lang="en-US" dirty="0"/>
              <a:t> among </a:t>
            </a:r>
            <a:r>
              <a:rPr lang="en-US" dirty="0">
                <a:solidFill>
                  <a:srgbClr val="83D0F5"/>
                </a:solidFill>
              </a:rPr>
              <a:t>societal actors</a:t>
            </a:r>
            <a:r>
              <a:rPr lang="en-US" dirty="0"/>
              <a:t>. It is aimed at </a:t>
            </a:r>
            <a:r>
              <a:rPr lang="en-US" dirty="0">
                <a:solidFill>
                  <a:srgbClr val="83D0F5"/>
                </a:solidFill>
              </a:rPr>
              <a:t>current</a:t>
            </a:r>
            <a:r>
              <a:rPr lang="en-US" dirty="0"/>
              <a:t> and future decision-makers and informs them about key aspects of the </a:t>
            </a:r>
            <a:r>
              <a:rPr lang="en-US" dirty="0">
                <a:solidFill>
                  <a:srgbClr val="83D0F5"/>
                </a:solidFill>
              </a:rPr>
              <a:t>transformation</a:t>
            </a:r>
            <a:r>
              <a:rPr lang="en-US" dirty="0"/>
              <a:t> toward post-fossil cities, but can be played by anyone interested. The game is available in English and German and is suitable for facilitated workshops lasting 3 to 8 hours, held either in person or virtually, and designed to make participants aware of climate change and the urgency of climate action. Players learn how to </a:t>
            </a:r>
            <a:r>
              <a:rPr lang="en-US" dirty="0" err="1"/>
              <a:t>prioritise</a:t>
            </a:r>
            <a:r>
              <a:rPr lang="en-US" dirty="0"/>
              <a:t> </a:t>
            </a:r>
            <a:r>
              <a:rPr lang="en-US" dirty="0">
                <a:solidFill>
                  <a:srgbClr val="83D0F5"/>
                </a:solidFill>
              </a:rPr>
              <a:t>mitigation measures </a:t>
            </a:r>
            <a:r>
              <a:rPr lang="en-US" dirty="0"/>
              <a:t>based on their effectiveness and time horizon. This can lead them to reconsider existing mental models—for example, their perceived influence on climate targets.</a:t>
            </a:r>
          </a:p>
          <a:p>
            <a:endParaRPr lang="de-CH" dirty="0">
              <a:solidFill>
                <a:srgbClr val="83D0F5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242DDC-F8B3-E4F1-BA1F-9FA7F791473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5B8C64-3469-DC07-026B-964F2B2ABC7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534723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22EB57-9AFF-4E09-23B9-706C2C7534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2792D84-E7A3-D33E-1699-C713BB10BF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86292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792D84-E7A3-D33E-1699-C713BB10BF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D7FEC5-73AB-8678-E422-D87970B302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Post-fossil </a:t>
            </a:r>
            <a:r>
              <a:rPr lang="de-CH" dirty="0" err="1"/>
              <a:t>cities</a:t>
            </a:r>
            <a:r>
              <a:rPr lang="de-CH" dirty="0"/>
              <a:t> – </a:t>
            </a:r>
            <a:r>
              <a:rPr lang="de-CH" dirty="0" err="1"/>
              <a:t>Results</a:t>
            </a:r>
            <a:r>
              <a:rPr lang="de-CH" dirty="0"/>
              <a:t> I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6C3D65-82E6-AB86-06EF-9F9664B131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Sector-specific scenarios illustrate the effects of climate measures I</a:t>
            </a:r>
            <a:br>
              <a:rPr lang="en-US" dirty="0"/>
            </a:br>
            <a:r>
              <a:rPr lang="en-US" dirty="0"/>
              <a:t>To simulate transformation pathways for the city of the future—as well as to </a:t>
            </a:r>
            <a:r>
              <a:rPr lang="en-US" dirty="0" err="1"/>
              <a:t>analyse</a:t>
            </a:r>
            <a:r>
              <a:rPr lang="en-US" dirty="0"/>
              <a:t> climate measures in the housing sector and private car transport in Switzerland—several models of </a:t>
            </a:r>
            <a:r>
              <a:rPr lang="en-US" dirty="0">
                <a:solidFill>
                  <a:srgbClr val="83D0F5"/>
                </a:solidFill>
              </a:rPr>
              <a:t>socioeconomic metabolism </a:t>
            </a:r>
            <a:r>
              <a:rPr lang="en-US" dirty="0"/>
              <a:t>were developed. The scenario analysis for the two sectors showed that </a:t>
            </a:r>
            <a:r>
              <a:rPr lang="en-US" dirty="0">
                <a:solidFill>
                  <a:srgbClr val="83D0F5"/>
                </a:solidFill>
              </a:rPr>
              <a:t>technology-oriented measures </a:t>
            </a:r>
            <a:r>
              <a:rPr lang="en-US" dirty="0"/>
              <a:t>to </a:t>
            </a:r>
            <a:r>
              <a:rPr lang="en-US" dirty="0">
                <a:solidFill>
                  <a:srgbClr val="83D0F5"/>
                </a:solidFill>
              </a:rPr>
              <a:t>reduce greenhouse gas emissions</a:t>
            </a:r>
            <a:r>
              <a:rPr lang="en-US" dirty="0"/>
              <a:t> are very efficient, such as </a:t>
            </a:r>
            <a:r>
              <a:rPr lang="en-US" dirty="0">
                <a:solidFill>
                  <a:srgbClr val="83D0F5"/>
                </a:solidFill>
              </a:rPr>
              <a:t>phasing out fossil fuels</a:t>
            </a:r>
            <a:r>
              <a:rPr lang="en-US" dirty="0"/>
              <a:t>, </a:t>
            </a:r>
            <a:r>
              <a:rPr lang="en-US" dirty="0">
                <a:solidFill>
                  <a:srgbClr val="83D0F5"/>
                </a:solidFill>
              </a:rPr>
              <a:t>higher energy standards </a:t>
            </a:r>
            <a:r>
              <a:rPr lang="en-US" dirty="0"/>
              <a:t>and </a:t>
            </a:r>
            <a:r>
              <a:rPr lang="en-US" dirty="0">
                <a:solidFill>
                  <a:srgbClr val="83D0F5"/>
                </a:solidFill>
              </a:rPr>
              <a:t>renovation rates</a:t>
            </a:r>
            <a:r>
              <a:rPr lang="en-US" dirty="0"/>
              <a:t>, or the </a:t>
            </a:r>
            <a:r>
              <a:rPr lang="en-US" dirty="0">
                <a:solidFill>
                  <a:srgbClr val="83D0F5"/>
                </a:solidFill>
              </a:rPr>
              <a:t>electrification of vehicles</a:t>
            </a:r>
            <a:r>
              <a:rPr lang="en-US" dirty="0"/>
              <a:t>. However, in many cases their full effect only unfolds with significant delays, because replacing existing technologies takes a long time. By contrast, </a:t>
            </a:r>
            <a:r>
              <a:rPr lang="en-US" dirty="0" err="1"/>
              <a:t>behavioural</a:t>
            </a:r>
            <a:r>
              <a:rPr lang="en-US" dirty="0"/>
              <a:t> measures were found to reduce direct energy consumption very effectively and immediately. These include, for example, lower indoor temperatures, reducing heated living space per person, or using carpooling.</a:t>
            </a:r>
          </a:p>
          <a:p>
            <a:pPr marL="0" indent="0">
              <a:lnSpc>
                <a:spcPct val="110000"/>
              </a:lnSpc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910D5E-F49B-EBB9-4769-404AD86BD2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3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07DCF-FA11-737F-6C04-3AE42F0384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0143461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27F732-E269-31FC-4BE6-844CBA5D0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BF8643A-E2F7-D349-188D-6A4F919488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30984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F8643A-E2F7-D349-188D-6A4F91948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801890-C9DE-8A03-DB46-6F8FF8A5C6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Post-fossil </a:t>
            </a:r>
            <a:r>
              <a:rPr lang="de-CH" dirty="0" err="1"/>
              <a:t>cities</a:t>
            </a:r>
            <a:r>
              <a:rPr lang="de-CH" dirty="0"/>
              <a:t> – </a:t>
            </a:r>
            <a:r>
              <a:rPr lang="de-CH" dirty="0" err="1"/>
              <a:t>Results</a:t>
            </a:r>
            <a:r>
              <a:rPr lang="de-CH" dirty="0"/>
              <a:t> II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894709-583E-EB42-C753-24E687286F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Sector-specific scenarios illustrate the effects of climate measures II</a:t>
            </a:r>
            <a:br>
              <a:rPr lang="en-US" dirty="0"/>
            </a:br>
            <a:r>
              <a:rPr lang="en-US" dirty="0"/>
              <a:t>The analysis also showed that a combination of </a:t>
            </a:r>
            <a:r>
              <a:rPr lang="en-US" dirty="0">
                <a:solidFill>
                  <a:srgbClr val="83D0F5"/>
                </a:solidFill>
              </a:rPr>
              <a:t>technological and </a:t>
            </a:r>
            <a:r>
              <a:rPr lang="en-US" dirty="0" err="1">
                <a:solidFill>
                  <a:srgbClr val="83D0F5"/>
                </a:solidFill>
              </a:rPr>
              <a:t>behavioural</a:t>
            </a:r>
            <a:r>
              <a:rPr lang="en-US" dirty="0">
                <a:solidFill>
                  <a:srgbClr val="83D0F5"/>
                </a:solidFill>
              </a:rPr>
              <a:t> measures </a:t>
            </a:r>
            <a:r>
              <a:rPr lang="en-US" dirty="0"/>
              <a:t>can help achieve energy and emissions targets in the two </a:t>
            </a:r>
            <a:r>
              <a:rPr lang="en-US" dirty="0">
                <a:solidFill>
                  <a:srgbClr val="83D0F5"/>
                </a:solidFill>
              </a:rPr>
              <a:t>sectors of residential buildings </a:t>
            </a:r>
            <a:r>
              <a:rPr lang="en-US" dirty="0"/>
              <a:t>and </a:t>
            </a:r>
            <a:r>
              <a:rPr lang="en-US" dirty="0">
                <a:solidFill>
                  <a:srgbClr val="83D0F5"/>
                </a:solidFill>
              </a:rPr>
              <a:t>private car transport</a:t>
            </a:r>
            <a:r>
              <a:rPr lang="en-US" dirty="0"/>
              <a:t>, provided that their scale and timing are well coordinated. Integrating and experimenting with these and other models is made easy in the </a:t>
            </a:r>
            <a:r>
              <a:rPr lang="en-US" dirty="0" err="1"/>
              <a:t>postfossilCities</a:t>
            </a:r>
            <a:r>
              <a:rPr lang="en-US" dirty="0"/>
              <a:t> game. For this purpose, a simulation engine based on the newly developed agent-based “Agent Using Models” approach was designed and implemented.</a:t>
            </a:r>
          </a:p>
          <a:p>
            <a:pPr marL="0" indent="0">
              <a:lnSpc>
                <a:spcPct val="110000"/>
              </a:lnSpc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6BF725-3DEC-4F5B-FD1E-C43B86FC1A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4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173C20-8551-C365-A580-B63D099B0B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8770881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348CB51-0945-C407-7387-B21AE86271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2757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48CB51-0945-C407-7387-B21AE86271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DF0A48-55CD-EA96-729B-728A6712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044575"/>
          </a:xfrm>
        </p:spPr>
        <p:txBody>
          <a:bodyPr vert="horz" anchor="ctr">
            <a:normAutofit/>
          </a:bodyPr>
          <a:lstStyle/>
          <a:p>
            <a:r>
              <a:rPr lang="en-US" dirty="0" err="1"/>
              <a:t>Decarbonisation</a:t>
            </a:r>
            <a:r>
              <a:rPr lang="en-US" dirty="0"/>
              <a:t> of the transport sec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D0BCB9-1090-E5AF-E5E8-8B38FFE219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08163"/>
            <a:ext cx="11111213" cy="42132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dirty="0"/>
              <a:t>«</a:t>
            </a:r>
            <a:r>
              <a:rPr lang="en-US" dirty="0"/>
              <a:t>We examine the economic impacts and the potential for reducing greenhouse gas emissions in the Swiss transport sector on the basis of three scenarios and a combination of these scenarios: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dirty="0"/>
              <a:t>improved </a:t>
            </a:r>
            <a:r>
              <a:rPr lang="en-US" b="1" dirty="0"/>
              <a:t>fuel</a:t>
            </a:r>
            <a:r>
              <a:rPr lang="en-US" dirty="0"/>
              <a:t> and </a:t>
            </a:r>
            <a:r>
              <a:rPr lang="en-US" b="1" dirty="0"/>
              <a:t>drivetrain technologies </a:t>
            </a:r>
            <a:r>
              <a:rPr lang="en-US" dirty="0"/>
              <a:t>and </a:t>
            </a:r>
            <a:r>
              <a:rPr lang="en-US" b="1" dirty="0"/>
              <a:t>promotion of electric vehicles</a:t>
            </a:r>
            <a:r>
              <a:rPr lang="en-US" dirty="0"/>
              <a:t>,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dirty="0"/>
              <a:t>better </a:t>
            </a:r>
            <a:r>
              <a:rPr lang="en-US" b="1" dirty="0" err="1"/>
              <a:t>utilisation</a:t>
            </a:r>
            <a:r>
              <a:rPr lang="en-US" b="1" dirty="0"/>
              <a:t> </a:t>
            </a:r>
            <a:r>
              <a:rPr lang="en-US" dirty="0"/>
              <a:t>of </a:t>
            </a:r>
            <a:r>
              <a:rPr lang="en-US" b="1" dirty="0"/>
              <a:t>private vehicles</a:t>
            </a:r>
            <a:r>
              <a:rPr lang="en-US" dirty="0"/>
              <a:t>, and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n-US" dirty="0"/>
              <a:t>a stronger </a:t>
            </a:r>
            <a:r>
              <a:rPr lang="en-US" b="1" dirty="0"/>
              <a:t>shift toward public transport</a:t>
            </a:r>
            <a:r>
              <a:rPr lang="en-US" dirty="0"/>
              <a:t>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/>
              <a:t>In the optimal scenario up to 2050, prosperity increases slightly while CO₂ emissions fall to 1.7 million </a:t>
            </a:r>
            <a:r>
              <a:rPr lang="en-US" dirty="0" err="1"/>
              <a:t>tonnes</a:t>
            </a:r>
            <a:r>
              <a:rPr lang="en-US" dirty="0"/>
              <a:t>, compared with 6 million </a:t>
            </a:r>
            <a:r>
              <a:rPr lang="en-US" dirty="0" err="1"/>
              <a:t>tonnes</a:t>
            </a:r>
            <a:r>
              <a:rPr lang="en-US" dirty="0"/>
              <a:t> of CO₂ in the reference scenario. Achieving full climate neutrality requires, in addition to economic measures, a ban on vehicles powered by fossil fuels. This not only accelerates the spread of electric cars but also provides planning and investment certainty for vehicle production and purchases.</a:t>
            </a:r>
            <a:r>
              <a:rPr lang="de-CH" dirty="0"/>
              <a:t>»</a:t>
            </a:r>
          </a:p>
          <a:p>
            <a:pPr marL="0" indent="0" algn="r">
              <a:buNone/>
            </a:pPr>
            <a:r>
              <a:rPr lang="en-GB" b="1" dirty="0"/>
              <a:t>- Markus Maibach, Project lead, </a:t>
            </a:r>
            <a:r>
              <a:rPr lang="en-US" b="1" dirty="0" err="1"/>
              <a:t>Decarbonisation</a:t>
            </a:r>
            <a:r>
              <a:rPr lang="en-US" b="1" dirty="0"/>
              <a:t> of the transport sector</a:t>
            </a:r>
            <a:endParaRPr lang="en-GB" b="1" dirty="0"/>
          </a:p>
          <a:p>
            <a:pPr marL="0" indent="0">
              <a:buNone/>
            </a:pPr>
            <a:endParaRPr lang="en-GB" b="1" dirty="0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1E84D753-38C2-6DFF-AB57-9953051EBC1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256589" y="6478264"/>
            <a:ext cx="3455986" cy="180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476BE59D-4918-439E-9CBF-5840B2847889}" type="slidenum">
              <a:rPr lang="de-CH" smtClean="0"/>
              <a:pPr>
                <a:spcAft>
                  <a:spcPts val="600"/>
                </a:spcAft>
              </a:pPr>
              <a:t>15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D3D229-FF11-F8C7-7345-C02D4D0D994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525555" y="6385781"/>
            <a:ext cx="4114800" cy="252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4194151403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F40519F-74CF-C3A3-EA2A-56EF39DC46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5501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40519F-74CF-C3A3-EA2A-56EF39DC4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43CEB1-289F-8262-EB60-767A808507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000" dirty="0" err="1"/>
              <a:t>Decarbonisation</a:t>
            </a:r>
            <a:r>
              <a:rPr lang="en-US" sz="4000" dirty="0"/>
              <a:t> of the transport sector </a:t>
            </a:r>
            <a:r>
              <a:rPr lang="de-CH" dirty="0"/>
              <a:t>– </a:t>
            </a:r>
            <a:r>
              <a:rPr lang="de-CH" dirty="0" err="1"/>
              <a:t>Assignments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899DFA-E392-3C8E-EBAE-88D0B6C63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What </a:t>
            </a:r>
            <a:r>
              <a:rPr lang="en-US" b="1" dirty="0"/>
              <a:t>share</a:t>
            </a:r>
            <a:r>
              <a:rPr lang="en-US" dirty="0"/>
              <a:t> does </a:t>
            </a:r>
            <a:r>
              <a:rPr lang="en-US" b="1" dirty="0"/>
              <a:t>transport </a:t>
            </a:r>
            <a:r>
              <a:rPr lang="en-US" dirty="0"/>
              <a:t>account for in </a:t>
            </a:r>
            <a:r>
              <a:rPr lang="en-US" b="1" dirty="0"/>
              <a:t>CO₂ emissions </a:t>
            </a:r>
            <a:r>
              <a:rPr lang="en-US" dirty="0"/>
              <a:t>in the country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</a:t>
            </a:r>
            <a:r>
              <a:rPr lang="en-US" b="1" dirty="0"/>
              <a:t>approaches</a:t>
            </a:r>
            <a:r>
              <a:rPr lang="en-US" dirty="0"/>
              <a:t> contribute most to </a:t>
            </a:r>
            <a:r>
              <a:rPr lang="en-US" b="1" dirty="0"/>
              <a:t>climate-neutral mobility</a:t>
            </a:r>
            <a:r>
              <a:rPr lang="en-US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</a:t>
            </a:r>
            <a:r>
              <a:rPr lang="en-US" b="1" dirty="0"/>
              <a:t>concrete measures </a:t>
            </a:r>
            <a:r>
              <a:rPr lang="en-US" dirty="0"/>
              <a:t>are included in the individual approaches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combination of approaches makes </a:t>
            </a:r>
            <a:r>
              <a:rPr lang="en-US" b="1" dirty="0"/>
              <a:t>climate neutrality by 2050</a:t>
            </a:r>
            <a:r>
              <a:rPr lang="en-US" dirty="0"/>
              <a:t> possible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</a:t>
            </a:r>
            <a:r>
              <a:rPr lang="en-US" b="1" dirty="0"/>
              <a:t>effects </a:t>
            </a:r>
            <a:r>
              <a:rPr lang="en-US" dirty="0"/>
              <a:t>on </a:t>
            </a:r>
            <a:r>
              <a:rPr lang="en-US" b="1" dirty="0"/>
              <a:t>GDP</a:t>
            </a:r>
            <a:r>
              <a:rPr lang="en-US" dirty="0"/>
              <a:t> would implementing this combination of measures have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ould </a:t>
            </a:r>
            <a:r>
              <a:rPr lang="en-US" b="1" dirty="0"/>
              <a:t>social prosperity </a:t>
            </a:r>
            <a:r>
              <a:rPr lang="en-US" dirty="0"/>
              <a:t>(GDP, leisure time)</a:t>
            </a:r>
            <a:r>
              <a:rPr lang="en-US" b="1" dirty="0"/>
              <a:t> increase </a:t>
            </a:r>
            <a:r>
              <a:rPr lang="en-US" dirty="0"/>
              <a:t>or </a:t>
            </a:r>
            <a:r>
              <a:rPr lang="en-US" b="1" dirty="0"/>
              <a:t>decrease</a:t>
            </a:r>
            <a:r>
              <a:rPr lang="en-US" dirty="0"/>
              <a:t>?</a:t>
            </a:r>
            <a:endParaRPr lang="en-GB" dirty="0"/>
          </a:p>
          <a:p>
            <a:endParaRPr lang="de-CH" dirty="0"/>
          </a:p>
          <a:p>
            <a:endParaRPr lang="de-CH" dirty="0"/>
          </a:p>
          <a:p>
            <a:pPr marL="0" indent="0">
              <a:buNone/>
            </a:pPr>
            <a:r>
              <a:rPr lang="de-CH" b="1" dirty="0"/>
              <a:t>Sources </a:t>
            </a:r>
            <a:r>
              <a:rPr lang="de-CH" b="1" dirty="0" err="1"/>
              <a:t>of</a:t>
            </a:r>
            <a:r>
              <a:rPr lang="de-CH" b="1" dirty="0"/>
              <a:t> </a:t>
            </a:r>
            <a:r>
              <a:rPr lang="de-CH" b="1" dirty="0" err="1"/>
              <a:t>knowledge</a:t>
            </a:r>
            <a:r>
              <a:rPr lang="de-CH" b="1" dirty="0"/>
              <a:t>:</a:t>
            </a:r>
            <a:endParaRPr lang="de-CH" dirty="0"/>
          </a:p>
          <a:p>
            <a:pPr marL="0" indent="0">
              <a:buNone/>
            </a:pPr>
            <a:r>
              <a:rPr lang="de-CH" dirty="0">
                <a:hlinkClick r:id="rId5"/>
              </a:rPr>
              <a:t>Decarbonising </a:t>
            </a:r>
            <a:r>
              <a:rPr lang="de-CH" dirty="0" err="1">
                <a:hlinkClick r:id="rId5"/>
              </a:rPr>
              <a:t>the</a:t>
            </a:r>
            <a:r>
              <a:rPr lang="de-CH" dirty="0">
                <a:hlinkClick r:id="rId5"/>
              </a:rPr>
              <a:t> </a:t>
            </a:r>
            <a:r>
              <a:rPr lang="de-CH" dirty="0" err="1">
                <a:hlinkClick r:id="rId5"/>
              </a:rPr>
              <a:t>transport</a:t>
            </a:r>
            <a:r>
              <a:rPr lang="de-CH" dirty="0">
                <a:hlinkClick r:id="rId5"/>
              </a:rPr>
              <a:t> </a:t>
            </a:r>
            <a:r>
              <a:rPr lang="de-CH" dirty="0" err="1">
                <a:hlinkClick r:id="rId5"/>
              </a:rPr>
              <a:t>sector</a:t>
            </a:r>
            <a:r>
              <a:rPr lang="de-CH" dirty="0">
                <a:hlinkClick r:id="rId5"/>
              </a:rPr>
              <a:t> (Policy Brief)</a:t>
            </a:r>
            <a:endParaRPr lang="de-CH" dirty="0"/>
          </a:p>
          <a:p>
            <a:pPr marL="0" indent="0">
              <a:buNone/>
            </a:pPr>
            <a:r>
              <a:rPr lang="en-US" i="0" dirty="0" err="1">
                <a:solidFill>
                  <a:srgbClr val="0F0F0F"/>
                </a:solidFill>
                <a:effectLst/>
                <a:hlinkClick r:id="rId6"/>
              </a:rPr>
              <a:t>Decarbonisation</a:t>
            </a:r>
            <a:r>
              <a:rPr lang="en-US" i="0" dirty="0">
                <a:solidFill>
                  <a:srgbClr val="0F0F0F"/>
                </a:solidFill>
                <a:effectLst/>
                <a:hlinkClick r:id="rId6"/>
              </a:rPr>
              <a:t> of the transport sector (scientific lecture, 5:40)</a:t>
            </a:r>
            <a:endParaRPr lang="en-US" i="0" dirty="0">
              <a:solidFill>
                <a:srgbClr val="0F0F0F"/>
              </a:solidFill>
              <a:effectLst/>
            </a:endParaRPr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426CC1-781C-D41F-C694-42625CFA63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6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10524E-AC23-2F5A-FF9B-CA0D939AEE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24774430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C0250AF-8F48-8606-66E5-3EB6FBA14D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32635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0250AF-8F48-8606-66E5-3EB6FBA14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9DDC68-03FD-9F3C-01AA-B64D88E63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000" dirty="0" err="1"/>
              <a:t>Decarbonisation</a:t>
            </a:r>
            <a:r>
              <a:rPr lang="en-US" sz="4000" dirty="0"/>
              <a:t> of the transport sector </a:t>
            </a:r>
            <a:r>
              <a:rPr lang="de-CH" dirty="0"/>
              <a:t>– Backgroun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142349-E6F0-D18C-38C4-A19C10AB8A1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7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C4700-F2A2-CC65-BF54-A47675A757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105C8D-B635-4794-EE6F-4E32D24B5D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2565400"/>
            <a:ext cx="10475789" cy="345598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 Switzerland, </a:t>
            </a:r>
            <a:r>
              <a:rPr lang="en-US" b="1" dirty="0"/>
              <a:t>transport</a:t>
            </a:r>
            <a:r>
              <a:rPr lang="en-US" dirty="0"/>
              <a:t> contributes significantly to </a:t>
            </a:r>
            <a:r>
              <a:rPr lang="en-US" b="1" dirty="0"/>
              <a:t>greenhouse gas emissions</a:t>
            </a:r>
            <a:r>
              <a:rPr lang="en-US" dirty="0"/>
              <a:t>, and unlike other sectors, </a:t>
            </a:r>
            <a:r>
              <a:rPr lang="en-US" b="1" dirty="0"/>
              <a:t>no downward trend </a:t>
            </a:r>
            <a:r>
              <a:rPr lang="en-US" dirty="0"/>
              <a:t>can be observed. To mitigate the impacts of climate change, emissions in this sector must be substantially reduced. This project closes a research gap by developing and </a:t>
            </a:r>
            <a:r>
              <a:rPr lang="en-US" dirty="0" err="1"/>
              <a:t>analysing</a:t>
            </a:r>
            <a:r>
              <a:rPr lang="en-US" dirty="0"/>
              <a:t> various scenarios for </a:t>
            </a:r>
            <a:r>
              <a:rPr lang="en-US" b="1" dirty="0"/>
              <a:t>reducing climate-damaging emissions</a:t>
            </a:r>
            <a:r>
              <a:rPr lang="en-US" dirty="0"/>
              <a:t> from transport in Switzerland, with a focus on passenger transport. Three general approaches to reducing such emissions are distinguished:</a:t>
            </a:r>
          </a:p>
          <a:p>
            <a:pPr lvl="1"/>
            <a:r>
              <a:rPr lang="en-US" b="1" dirty="0" err="1"/>
              <a:t>Optimised</a:t>
            </a:r>
            <a:r>
              <a:rPr lang="en-US" b="1" dirty="0"/>
              <a:t> technology:</a:t>
            </a:r>
            <a:r>
              <a:rPr lang="en-US" dirty="0"/>
              <a:t> improved fuel and drivetrain efficiency toward climate-neutral technologies</a:t>
            </a:r>
          </a:p>
          <a:p>
            <a:pPr lvl="1"/>
            <a:r>
              <a:rPr lang="en-US" b="1" dirty="0"/>
              <a:t>Better vehicle efficiency:</a:t>
            </a:r>
            <a:r>
              <a:rPr lang="en-US" dirty="0"/>
              <a:t> higher occupancy and </a:t>
            </a:r>
            <a:r>
              <a:rPr lang="en-US" dirty="0" err="1"/>
              <a:t>utilisation</a:t>
            </a:r>
            <a:r>
              <a:rPr lang="en-US" dirty="0"/>
              <a:t> rates</a:t>
            </a:r>
          </a:p>
          <a:p>
            <a:pPr lvl="1"/>
            <a:r>
              <a:rPr lang="en-US" b="1" dirty="0"/>
              <a:t>Modal shift:</a:t>
            </a:r>
            <a:r>
              <a:rPr lang="en-US" dirty="0"/>
              <a:t> shifting to and multimodal use of other, less CO₂-intensive modes of transport such as rail, new mobility systems, bicycles, etc.</a:t>
            </a:r>
          </a:p>
          <a:p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C88C71-1142-4461-2973-011AB01220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4" y="1808163"/>
            <a:ext cx="11241066" cy="587375"/>
          </a:xfrm>
        </p:spPr>
        <p:txBody>
          <a:bodyPr/>
          <a:lstStyle/>
          <a:p>
            <a:r>
              <a:rPr lang="de-CH" dirty="0"/>
              <a:t>Background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321AA28-8199-0286-0F12-3F862188EE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7589981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8E7C96-0139-61C2-CC97-D9B119CA4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DEC3F39-DB12-47FD-BD86-0B88F2DDDD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17176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EC3F39-DB12-47FD-BD86-0B88F2DDDD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488A06-A038-9537-D457-6D0D9DE03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000" dirty="0" err="1"/>
              <a:t>Decarbonisation</a:t>
            </a:r>
            <a:r>
              <a:rPr lang="en-US" sz="4000" dirty="0"/>
              <a:t> of the transport sector </a:t>
            </a:r>
            <a:r>
              <a:rPr lang="de-CH" dirty="0"/>
              <a:t>– </a:t>
            </a:r>
            <a:r>
              <a:rPr lang="de-CH" dirty="0" err="1"/>
              <a:t>Aim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7FE011-35B5-CD43-A3B0-E86C8329C47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8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C0E60-09A7-0839-DE16-6393C6640C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67AEED-26E2-F3E8-F6AF-74D683BB7E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project within the NFP73 framework examines this pathway in more detail and aims to answer the following questions:</a:t>
            </a:r>
          </a:p>
          <a:p>
            <a:r>
              <a:rPr lang="en-US" dirty="0"/>
              <a:t>What economic effects do the different approaches to reducing climate-damaging emissions in </a:t>
            </a:r>
            <a:r>
              <a:rPr lang="en-US" b="1" dirty="0"/>
              <a:t>passenger transport </a:t>
            </a:r>
            <a:r>
              <a:rPr lang="en-US" dirty="0"/>
              <a:t>have in Switzerland?</a:t>
            </a:r>
          </a:p>
          <a:p>
            <a:r>
              <a:rPr lang="en-US" dirty="0"/>
              <a:t>Which mix of reductions has the most </a:t>
            </a:r>
            <a:r>
              <a:rPr lang="en-US" b="1" dirty="0" err="1"/>
              <a:t>favourable</a:t>
            </a:r>
            <a:r>
              <a:rPr lang="en-US" b="1" dirty="0"/>
              <a:t> economic impacts </a:t>
            </a:r>
            <a:r>
              <a:rPr lang="en-US" dirty="0"/>
              <a:t>in Switzerland?</a:t>
            </a:r>
          </a:p>
          <a:p>
            <a:r>
              <a:rPr lang="en-US" dirty="0"/>
              <a:t>Which policy instruments are needed to reduce emissions in passenger transport in order to achieve an optimal balance between </a:t>
            </a:r>
            <a:r>
              <a:rPr lang="en-US" b="1" dirty="0"/>
              <a:t>economic</a:t>
            </a:r>
            <a:r>
              <a:rPr lang="en-US" dirty="0"/>
              <a:t> and </a:t>
            </a:r>
            <a:r>
              <a:rPr lang="en-US" b="1" dirty="0"/>
              <a:t>environmental outcomes</a:t>
            </a:r>
            <a:r>
              <a:rPr lang="en-US" dirty="0"/>
              <a:t>?</a:t>
            </a:r>
          </a:p>
          <a:p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278251F-D130-0662-791C-6A54B62E5F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err="1"/>
              <a:t>Aim</a:t>
            </a:r>
            <a:endParaRPr lang="de-CH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9D805F-2F3C-90F7-0D0C-3C8CA5B918F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8AD1BBD-34B8-0B15-C093-236B776734DC}"/>
              </a:ext>
            </a:extLst>
          </p:cNvPr>
          <p:cNvPicPr>
            <a:picLocks noGrp="1" noChangeAspect="1" noChangeArrowheads="1"/>
          </p:cNvPicPr>
          <p:nvPr>
            <p:ph type="pic"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58" r="22658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14821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4205903-5F61-5354-89B7-6D5F65F55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39456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205903-5F61-5354-89B7-6D5F65F55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24ADC6-1348-34F1-8820-937488E924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000" dirty="0" err="1"/>
              <a:t>Decarbonisation</a:t>
            </a:r>
            <a:r>
              <a:rPr lang="en-US" sz="4000" dirty="0"/>
              <a:t> of the transport sector </a:t>
            </a:r>
            <a:r>
              <a:rPr lang="de-CH" dirty="0"/>
              <a:t>– </a:t>
            </a:r>
            <a:r>
              <a:rPr lang="de-CH" dirty="0" err="1"/>
              <a:t>Results</a:t>
            </a:r>
            <a:r>
              <a:rPr lang="de-CH" dirty="0"/>
              <a:t> 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5E38B2-4DB9-6825-D733-98E8CF5420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615658"/>
            <a:ext cx="11233150" cy="421322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Conclusions based on three scenarios:</a:t>
            </a:r>
          </a:p>
          <a:p>
            <a:r>
              <a:rPr lang="en-US" dirty="0">
                <a:solidFill>
                  <a:srgbClr val="83D0F5"/>
                </a:solidFill>
              </a:rPr>
              <a:t>Reducing emissions</a:t>
            </a:r>
            <a:r>
              <a:rPr lang="en-US" dirty="0"/>
              <a:t> from transport with </a:t>
            </a:r>
            <a:r>
              <a:rPr lang="en-US" dirty="0">
                <a:solidFill>
                  <a:srgbClr val="83D0F5"/>
                </a:solidFill>
              </a:rPr>
              <a:t>positive economic effects </a:t>
            </a:r>
            <a:r>
              <a:rPr lang="en-US" dirty="0"/>
              <a:t>is possible. External transport costs decline as emissions fall, because adjustment costs are lower and fewer mitigation measures are required.</a:t>
            </a:r>
          </a:p>
          <a:p>
            <a:r>
              <a:rPr lang="en-US" dirty="0"/>
              <a:t>The technological approach of </a:t>
            </a:r>
            <a:r>
              <a:rPr lang="en-US" dirty="0">
                <a:solidFill>
                  <a:srgbClr val="83D0F5"/>
                </a:solidFill>
              </a:rPr>
              <a:t>vehicle electrification </a:t>
            </a:r>
            <a:r>
              <a:rPr lang="en-US" dirty="0"/>
              <a:t>is very important, but on its own it will clearly </a:t>
            </a:r>
            <a:r>
              <a:rPr lang="en-US" dirty="0">
                <a:solidFill>
                  <a:srgbClr val="83D0F5"/>
                </a:solidFill>
              </a:rPr>
              <a:t>not be sufficient </a:t>
            </a:r>
            <a:r>
              <a:rPr lang="en-US" dirty="0"/>
              <a:t>to achieve the targeted emission reductions. Additional efforts in the </a:t>
            </a:r>
            <a:r>
              <a:rPr lang="en-US" dirty="0">
                <a:solidFill>
                  <a:srgbClr val="83D0F5"/>
                </a:solidFill>
              </a:rPr>
              <a:t>form of efficiency gains </a:t>
            </a:r>
            <a:r>
              <a:rPr lang="en-US" dirty="0"/>
              <a:t>and </a:t>
            </a:r>
            <a:r>
              <a:rPr lang="en-US" dirty="0" err="1">
                <a:solidFill>
                  <a:srgbClr val="83D0F5"/>
                </a:solidFill>
              </a:rPr>
              <a:t>optimisation</a:t>
            </a:r>
            <a:r>
              <a:rPr lang="en-US" dirty="0"/>
              <a:t> through an optimal combination of the three approaches mentioned above are needed.</a:t>
            </a:r>
          </a:p>
          <a:p>
            <a:r>
              <a:rPr lang="en-US" dirty="0"/>
              <a:t>Even the optimal combination of the three </a:t>
            </a:r>
            <a:r>
              <a:rPr lang="en-US" dirty="0" err="1"/>
              <a:t>analysed</a:t>
            </a:r>
            <a:r>
              <a:rPr lang="en-US" dirty="0"/>
              <a:t> approaches would not lead to full climate neutrality in Swiss transport. The </a:t>
            </a:r>
            <a:r>
              <a:rPr lang="en-US" dirty="0">
                <a:solidFill>
                  <a:srgbClr val="83D0F5"/>
                </a:solidFill>
              </a:rPr>
              <a:t>target contribution by 2050 would be 80%.</a:t>
            </a:r>
          </a:p>
          <a:p>
            <a:r>
              <a:rPr lang="en-US" dirty="0"/>
              <a:t>More stringent measures are therefore required. To accelerate achievement of the most important element of the emission-reduction strategy—the promotion of electric vehicles—a </a:t>
            </a:r>
            <a:r>
              <a:rPr lang="en-US" dirty="0">
                <a:solidFill>
                  <a:srgbClr val="83D0F5"/>
                </a:solidFill>
              </a:rPr>
              <a:t>ban on vehicles with fossil-fuel engines </a:t>
            </a:r>
            <a:r>
              <a:rPr lang="en-US" dirty="0"/>
              <a:t>is needed. This would provide </a:t>
            </a:r>
            <a:r>
              <a:rPr lang="en-US" dirty="0">
                <a:solidFill>
                  <a:srgbClr val="83D0F5"/>
                </a:solidFill>
              </a:rPr>
              <a:t>investment certainty for vehicle production </a:t>
            </a:r>
            <a:r>
              <a:rPr lang="en-US" dirty="0"/>
              <a:t>and </a:t>
            </a:r>
            <a:r>
              <a:rPr lang="en-US" dirty="0">
                <a:solidFill>
                  <a:srgbClr val="83D0F5"/>
                </a:solidFill>
              </a:rPr>
              <a:t>purchases</a:t>
            </a:r>
            <a:r>
              <a:rPr lang="en-US" dirty="0"/>
              <a:t> and </a:t>
            </a:r>
            <a:r>
              <a:rPr lang="en-US" dirty="0">
                <a:solidFill>
                  <a:srgbClr val="83D0F5"/>
                </a:solidFill>
              </a:rPr>
              <a:t>speed up market saturation of electric vehicles</a:t>
            </a:r>
            <a:r>
              <a:rPr lang="en-US" dirty="0"/>
              <a:t>. The 2050 climate target can be achieved with a combination of the three approaches.</a:t>
            </a:r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92006C-C37E-B3F6-CC1E-D5BD5240804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19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49DACC-FE83-2AB4-BC12-3AB1F0DE35F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601275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45439-1C16-BCB2-4C79-260618DAD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ocus Cities and Mobility</a:t>
            </a:r>
            <a:br>
              <a:rPr lang="de-CH" b="1" dirty="0"/>
            </a:b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1A7579-B93C-DD18-A750-BECCE46D9B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1808163"/>
            <a:ext cx="11233149" cy="4213225"/>
          </a:xfrm>
        </p:spPr>
        <p:txBody>
          <a:bodyPr/>
          <a:lstStyle/>
          <a:p>
            <a:pPr marL="0" indent="0">
              <a:buNone/>
            </a:pPr>
            <a:r>
              <a:rPr lang="de-CH" dirty="0"/>
              <a:t>«</a:t>
            </a:r>
            <a:r>
              <a:rPr lang="en-US" dirty="0"/>
              <a:t>Key elements of a planned sustainable city include </a:t>
            </a:r>
            <a:r>
              <a:rPr lang="en-US" b="1" dirty="0"/>
              <a:t>low energy consumption</a:t>
            </a:r>
            <a:r>
              <a:rPr lang="en-US" dirty="0"/>
              <a:t>, </a:t>
            </a:r>
            <a:r>
              <a:rPr lang="en-US" b="1" dirty="0"/>
              <a:t>sustainable land use, building structures </a:t>
            </a:r>
            <a:r>
              <a:rPr lang="en-US" dirty="0"/>
              <a:t>that are </a:t>
            </a:r>
            <a:r>
              <a:rPr lang="en-US" b="1" dirty="0"/>
              <a:t>kept in circular use</a:t>
            </a:r>
            <a:r>
              <a:rPr lang="en-US" dirty="0"/>
              <a:t>, and </a:t>
            </a:r>
            <a:r>
              <a:rPr lang="en-US" b="1" dirty="0"/>
              <a:t>social justice</a:t>
            </a:r>
            <a:r>
              <a:rPr lang="en-US" dirty="0"/>
              <a:t>. With the </a:t>
            </a:r>
            <a:r>
              <a:rPr lang="en-US" b="1" dirty="0"/>
              <a:t>continuing trend toward </a:t>
            </a:r>
            <a:r>
              <a:rPr lang="en-US" b="1" dirty="0" err="1"/>
              <a:t>urbanisation</a:t>
            </a:r>
            <a:r>
              <a:rPr lang="en-US" dirty="0"/>
              <a:t>, both the demand for </a:t>
            </a:r>
            <a:r>
              <a:rPr lang="en-US" b="1" dirty="0"/>
              <a:t>residential</a:t>
            </a:r>
            <a:r>
              <a:rPr lang="en-US" dirty="0"/>
              <a:t> and </a:t>
            </a:r>
            <a:r>
              <a:rPr lang="en-US" b="1" dirty="0"/>
              <a:t>commercial space </a:t>
            </a:r>
            <a:r>
              <a:rPr lang="en-US" dirty="0"/>
              <a:t>and </a:t>
            </a:r>
            <a:r>
              <a:rPr lang="en-US" b="1" dirty="0"/>
              <a:t>energy consumption </a:t>
            </a:r>
            <a:r>
              <a:rPr lang="en-US" dirty="0"/>
              <a:t>are </a:t>
            </a:r>
            <a:r>
              <a:rPr lang="en-US" b="1" dirty="0"/>
              <a:t>increasing</a:t>
            </a:r>
            <a:r>
              <a:rPr lang="en-US" dirty="0"/>
              <a:t>. In addition, more waste is being generated. A sustainable economy requires a </a:t>
            </a:r>
            <a:r>
              <a:rPr lang="en-US" b="1" dirty="0"/>
              <a:t>major transformation</a:t>
            </a:r>
            <a:r>
              <a:rPr lang="en-US" dirty="0"/>
              <a:t> of the </a:t>
            </a:r>
            <a:r>
              <a:rPr lang="en-US" b="1" dirty="0"/>
              <a:t>infrastructure</a:t>
            </a:r>
            <a:r>
              <a:rPr lang="en-US" dirty="0"/>
              <a:t> of urban areas as well as of </a:t>
            </a:r>
            <a:r>
              <a:rPr lang="en-US" b="1" dirty="0"/>
              <a:t>private and public transport</a:t>
            </a:r>
            <a:r>
              <a:rPr lang="en-US" dirty="0"/>
              <a:t>. To become sustainable, cities must confront these challenges. The topic of ‘sustainable mobility’ has been a </a:t>
            </a:r>
            <a:r>
              <a:rPr lang="en-US" b="1" dirty="0"/>
              <a:t>focus of Swiss policy </a:t>
            </a:r>
            <a:r>
              <a:rPr lang="en-US" dirty="0"/>
              <a:t>for years. Nevertheless, mobility continues to grow and contributes significantly to greenhouse gas emissions. In the long term, Swiss mobility is intended to be </a:t>
            </a:r>
            <a:r>
              <a:rPr lang="en-US" b="1" dirty="0"/>
              <a:t>environmentally friendly (net zero),</a:t>
            </a:r>
            <a:r>
              <a:rPr lang="en-US" dirty="0"/>
              <a:t> </a:t>
            </a:r>
            <a:r>
              <a:rPr lang="en-US" b="1" dirty="0"/>
              <a:t>economically efficient</a:t>
            </a:r>
            <a:r>
              <a:rPr lang="en-US" dirty="0"/>
              <a:t>, and at the same time </a:t>
            </a:r>
            <a:r>
              <a:rPr lang="en-US" b="1" dirty="0"/>
              <a:t>accessible</a:t>
            </a:r>
            <a:r>
              <a:rPr lang="en-US" dirty="0"/>
              <a:t> to all </a:t>
            </a:r>
            <a:r>
              <a:rPr lang="en-US" b="1" dirty="0"/>
              <a:t>population groups </a:t>
            </a:r>
            <a:r>
              <a:rPr lang="en-US" dirty="0"/>
              <a:t>and </a:t>
            </a:r>
            <a:r>
              <a:rPr lang="en-US" b="1" dirty="0"/>
              <a:t>regions</a:t>
            </a:r>
            <a:r>
              <a:rPr lang="en-US" dirty="0"/>
              <a:t> of the country.</a:t>
            </a:r>
            <a:r>
              <a:rPr lang="de-CH" dirty="0"/>
              <a:t>»</a:t>
            </a:r>
          </a:p>
          <a:p>
            <a:pPr algn="r"/>
            <a:r>
              <a:rPr lang="en-GB" b="1" dirty="0"/>
              <a:t>NFP 73, Cities and Mobility</a:t>
            </a:r>
            <a:endParaRPr lang="en-GB" dirty="0"/>
          </a:p>
          <a:p>
            <a:pPr marL="0" indent="0" algn="l">
              <a:lnSpc>
                <a:spcPct val="110000"/>
              </a:lnSpc>
              <a:buNone/>
            </a:pPr>
            <a:endParaRPr lang="de-CH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1063C-4DC7-7FB6-3C65-151372E8A5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542CC3-E793-79D5-118B-B5A04242598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1711595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93CD787-A237-27E9-48C1-98BABF3CD6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04927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3CD787-A237-27E9-48C1-98BABF3CD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B2A438-9C0A-411B-D5B3-BE0B78F88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000" dirty="0" err="1"/>
              <a:t>Decarbonisation</a:t>
            </a:r>
            <a:r>
              <a:rPr lang="en-US" sz="4000" dirty="0"/>
              <a:t> of the transport sector </a:t>
            </a:r>
            <a:r>
              <a:rPr lang="de-CH" dirty="0"/>
              <a:t>– </a:t>
            </a:r>
            <a:r>
              <a:rPr lang="de-CH" dirty="0" err="1"/>
              <a:t>Results</a:t>
            </a:r>
            <a:r>
              <a:rPr lang="de-CH" dirty="0"/>
              <a:t> I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E6D6FA-F0BB-8F5F-6300-EF490FDAA5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0</a:t>
            </a:fld>
            <a:endParaRPr lang="de-CH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0052B1-0B26-7EC5-4158-67FA7FFDFC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489CDAB-89CB-1C8C-87B2-AA6D9194D4CB}"/>
              </a:ext>
            </a:extLst>
          </p:cNvPr>
          <p:cNvSpPr txBox="1">
            <a:spLocks/>
          </p:cNvSpPr>
          <p:nvPr/>
        </p:nvSpPr>
        <p:spPr>
          <a:xfrm>
            <a:off x="479425" y="5587283"/>
            <a:ext cx="11233150" cy="544010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solidFill>
                  <a:schemeClr val="bg1"/>
                </a:solidFill>
              </a:rPr>
              <a:t>Three strategic directions for </a:t>
            </a:r>
            <a:r>
              <a:rPr lang="en-US" sz="1200" dirty="0" err="1">
                <a:solidFill>
                  <a:schemeClr val="bg1"/>
                </a:solidFill>
              </a:rPr>
              <a:t>decarbonising</a:t>
            </a:r>
            <a:r>
              <a:rPr lang="en-US" sz="1200" dirty="0">
                <a:solidFill>
                  <a:schemeClr val="bg1"/>
                </a:solidFill>
              </a:rPr>
              <a:t> passenger </a:t>
            </a:r>
            <a:r>
              <a:rPr lang="en-US" sz="1200" dirty="0" err="1">
                <a:solidFill>
                  <a:schemeClr val="bg1"/>
                </a:solidFill>
              </a:rPr>
              <a:t>transportBEV</a:t>
            </a:r>
            <a:r>
              <a:rPr lang="en-US" sz="1200" dirty="0">
                <a:solidFill>
                  <a:schemeClr val="bg1"/>
                </a:solidFill>
              </a:rPr>
              <a:t>: battery-electric vehicles.OPT1 combines the specific approaches of the scenarios; OPT2 includes a ban on fossil fuels to achieve the CO₂ target. </a:t>
            </a:r>
            <a:r>
              <a:rPr lang="de-CH" sz="12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Decarbonising </a:t>
            </a:r>
            <a:r>
              <a:rPr lang="de-CH" sz="1200" dirty="0" err="1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</a:t>
            </a:r>
            <a:r>
              <a:rPr lang="de-CH" sz="12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de-CH" sz="1200" dirty="0" err="1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nsport</a:t>
            </a:r>
            <a:r>
              <a:rPr lang="de-CH" sz="12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de-CH" sz="1200" dirty="0" err="1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ctor</a:t>
            </a:r>
            <a:r>
              <a:rPr lang="de-CH" sz="12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(Policy Brief)</a:t>
            </a:r>
            <a:endParaRPr lang="de-CH" sz="12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45642C-CE9D-BFF3-2EE0-E6C396327C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909" y="1703594"/>
            <a:ext cx="6004663" cy="362880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BBE73B9-761B-56CD-D4F6-C5A37003D4F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17697"/>
          <a:stretch>
            <a:fillRect/>
          </a:stretch>
        </p:blipFill>
        <p:spPr>
          <a:xfrm>
            <a:off x="6657754" y="2118266"/>
            <a:ext cx="5359921" cy="2347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3893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15720B-6FE8-88B3-737C-2DB43F867A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FA305E4-B6C6-BAE7-FFED-4169DBA313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3825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A305E4-B6C6-BAE7-FFED-4169DBA313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B767F2-D6AA-5939-AD4A-7561363F8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000" dirty="0" err="1"/>
              <a:t>Decarbonisation</a:t>
            </a:r>
            <a:r>
              <a:rPr lang="en-US" sz="4000" dirty="0"/>
              <a:t> of the transport sector</a:t>
            </a:r>
            <a:r>
              <a:rPr lang="de-CH" dirty="0"/>
              <a:t>– </a:t>
            </a:r>
            <a:r>
              <a:rPr lang="de-CH" dirty="0" err="1"/>
              <a:t>Results</a:t>
            </a:r>
            <a:r>
              <a:rPr lang="de-CH" dirty="0"/>
              <a:t> II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961EDC-C91C-74F3-CA5A-A2F8E81299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1</a:t>
            </a:fld>
            <a:endParaRPr lang="de-CH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AF6537-0039-7A5F-EA7B-CFE78B99E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D481973-082B-9DCC-C77B-27391A3F3E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4441347"/>
              </p:ext>
            </p:extLst>
          </p:nvPr>
        </p:nvGraphicFramePr>
        <p:xfrm>
          <a:off x="479424" y="1735363"/>
          <a:ext cx="8703901" cy="4123647"/>
        </p:xfrm>
        <a:graphic>
          <a:graphicData uri="http://schemas.openxmlformats.org/drawingml/2006/table">
            <a:tbl>
              <a:tblPr/>
              <a:tblGrid>
                <a:gridCol w="2869438">
                  <a:extLst>
                    <a:ext uri="{9D8B030D-6E8A-4147-A177-3AD203B41FA5}">
                      <a16:colId xmlns:a16="http://schemas.microsoft.com/office/drawing/2014/main" val="422330216"/>
                    </a:ext>
                  </a:extLst>
                </a:gridCol>
                <a:gridCol w="887315">
                  <a:extLst>
                    <a:ext uri="{9D8B030D-6E8A-4147-A177-3AD203B41FA5}">
                      <a16:colId xmlns:a16="http://schemas.microsoft.com/office/drawing/2014/main" val="1140818059"/>
                    </a:ext>
                  </a:extLst>
                </a:gridCol>
                <a:gridCol w="1066770">
                  <a:extLst>
                    <a:ext uri="{9D8B030D-6E8A-4147-A177-3AD203B41FA5}">
                      <a16:colId xmlns:a16="http://schemas.microsoft.com/office/drawing/2014/main" val="3774540499"/>
                    </a:ext>
                  </a:extLst>
                </a:gridCol>
                <a:gridCol w="1036861">
                  <a:extLst>
                    <a:ext uri="{9D8B030D-6E8A-4147-A177-3AD203B41FA5}">
                      <a16:colId xmlns:a16="http://schemas.microsoft.com/office/drawing/2014/main" val="579615764"/>
                    </a:ext>
                  </a:extLst>
                </a:gridCol>
                <a:gridCol w="1046831">
                  <a:extLst>
                    <a:ext uri="{9D8B030D-6E8A-4147-A177-3AD203B41FA5}">
                      <a16:colId xmlns:a16="http://schemas.microsoft.com/office/drawing/2014/main" val="1634175674"/>
                    </a:ext>
                  </a:extLst>
                </a:gridCol>
                <a:gridCol w="807555">
                  <a:extLst>
                    <a:ext uri="{9D8B030D-6E8A-4147-A177-3AD203B41FA5}">
                      <a16:colId xmlns:a16="http://schemas.microsoft.com/office/drawing/2014/main" val="291854257"/>
                    </a:ext>
                  </a:extLst>
                </a:gridCol>
                <a:gridCol w="989131">
                  <a:extLst>
                    <a:ext uri="{9D8B030D-6E8A-4147-A177-3AD203B41FA5}">
                      <a16:colId xmlns:a16="http://schemas.microsoft.com/office/drawing/2014/main" val="715108429"/>
                    </a:ext>
                  </a:extLst>
                </a:gridCol>
              </a:tblGrid>
              <a:tr h="49141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400" b="1" dirty="0" err="1">
                          <a:effectLst/>
                        </a:rPr>
                        <a:t>Indicator</a:t>
                      </a:r>
                      <a:r>
                        <a:rPr lang="de-CH" sz="1400" b="1" dirty="0">
                          <a:effectLst/>
                        </a:rPr>
                        <a:t> / Value 2050</a:t>
                      </a:r>
                      <a:endParaRPr lang="de-CH" sz="1400" dirty="0">
                        <a:effectLst/>
                      </a:endParaRP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400" b="1" dirty="0">
                          <a:effectLst/>
                        </a:rPr>
                        <a:t>Reference </a:t>
                      </a:r>
                      <a:endParaRPr lang="de-CH" sz="1400" dirty="0">
                        <a:effectLst/>
                      </a:endParaRP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400" b="1" dirty="0">
                          <a:effectLst/>
                        </a:rPr>
                        <a:t>Scenario 1 </a:t>
                      </a:r>
                      <a:endParaRPr lang="de-CH" sz="1400" dirty="0">
                        <a:effectLst/>
                      </a:endParaRP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400" b="1" dirty="0">
                          <a:effectLst/>
                        </a:rPr>
                        <a:t>Scenario 2 </a:t>
                      </a:r>
                      <a:endParaRPr lang="de-CH" sz="1400" dirty="0">
                        <a:effectLst/>
                      </a:endParaRP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400" b="1" dirty="0">
                          <a:effectLst/>
                        </a:rPr>
                        <a:t>Scenario 3 </a:t>
                      </a:r>
                      <a:endParaRPr lang="de-CH" sz="1400" dirty="0">
                        <a:effectLst/>
                      </a:endParaRP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400" b="1">
                          <a:effectLst/>
                        </a:rPr>
                        <a:t>OPT 1 </a:t>
                      </a:r>
                      <a:endParaRPr lang="de-CH" sz="1400">
                        <a:effectLst/>
                      </a:endParaRP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400" b="1" dirty="0">
                          <a:effectLst/>
                        </a:rPr>
                        <a:t>OPT 2:  </a:t>
                      </a:r>
                      <a:br>
                        <a:rPr lang="de-CH" sz="1400" dirty="0">
                          <a:effectLst/>
                        </a:rPr>
                      </a:br>
                      <a:r>
                        <a:rPr lang="de-CH" sz="1400" dirty="0">
                          <a:effectLst/>
                        </a:rPr>
                        <a:t> 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459649"/>
                  </a:ext>
                </a:extLst>
              </a:tr>
              <a:tr h="38995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dirty="0">
                          <a:effectLst/>
                        </a:rPr>
                        <a:t> 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dirty="0">
                          <a:effectLst/>
                        </a:rPr>
                        <a:t>“BAU”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CAPU</a:t>
                      </a:r>
                      <a:r>
                        <a:rPr lang="de-CH" sz="1200" b="0" dirty="0">
                          <a:effectLst/>
                        </a:rPr>
                        <a:t>”</a:t>
                      </a:r>
                      <a:endParaRPr lang="de-CH" sz="12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SHIFT”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TECH” 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dirty="0" err="1">
                          <a:effectLst/>
                        </a:rPr>
                        <a:t>Combination</a:t>
                      </a:r>
                      <a:r>
                        <a:rPr lang="de-CH" sz="1200" b="0" dirty="0">
                          <a:effectLst/>
                        </a:rPr>
                        <a:t>. 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dirty="0">
                          <a:effectLst/>
                        </a:rPr>
                        <a:t>OPT 1 plus </a:t>
                      </a:r>
                      <a:r>
                        <a:rPr lang="de-CH" sz="1200" b="0" dirty="0" err="1">
                          <a:effectLst/>
                        </a:rPr>
                        <a:t>ban</a:t>
                      </a:r>
                      <a:r>
                        <a:rPr lang="de-CH" sz="1200" b="0" dirty="0">
                          <a:effectLst/>
                        </a:rPr>
                        <a:t> 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2603363"/>
                  </a:ext>
                </a:extLst>
              </a:tr>
              <a:tr h="29398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ivate </a:t>
                      </a: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s</a:t>
                      </a:r>
                      <a:endParaRPr lang="de-CH" sz="12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5.2 Mio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3.7 Mio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3.8 Mio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5.2 Mio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2.7 Mio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2.7 Mio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8176433"/>
                  </a:ext>
                </a:extLst>
              </a:tr>
              <a:tr h="29398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0" dirty="0">
                          <a:effectLst/>
                        </a:rPr>
                        <a:t>Share E (BEV) of total cars</a:t>
                      </a:r>
                      <a:endParaRPr lang="de-CH" sz="1200" b="0" dirty="0">
                        <a:effectLst/>
                      </a:endParaRP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35%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35%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35%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65%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65%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96%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459902"/>
                  </a:ext>
                </a:extLst>
              </a:tr>
              <a:tr h="29398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dirty="0">
                          <a:effectLst/>
                        </a:rPr>
                        <a:t>Energy </a:t>
                      </a:r>
                      <a:r>
                        <a:rPr lang="de-CH" sz="1200" b="0" dirty="0" err="1">
                          <a:effectLst/>
                        </a:rPr>
                        <a:t>needs</a:t>
                      </a:r>
                      <a:r>
                        <a:rPr lang="de-CH" sz="1200" b="0" dirty="0">
                          <a:effectLst/>
                        </a:rPr>
                        <a:t> BEV (TWh)</a:t>
                      </a:r>
                      <a:r>
                        <a:rPr lang="de-CH" sz="1200" b="0" dirty="0" err="1">
                          <a:effectLst/>
                        </a:rPr>
                        <a:t>giebedarf</a:t>
                      </a:r>
                      <a:r>
                        <a:rPr lang="de-CH" sz="1200" b="0" dirty="0">
                          <a:effectLst/>
                        </a:rPr>
                        <a:t> Elektroautos (TWh) 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5.1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3.6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4.5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9.7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5.2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6.6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8823083"/>
                  </a:ext>
                </a:extLst>
              </a:tr>
              <a:tr h="25767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t import of electricity (TWh)</a:t>
                      </a:r>
                      <a:endParaRPr lang="de-CH" sz="12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7.0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5.0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5.6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9.9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5.6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6.7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14819"/>
                  </a:ext>
                </a:extLst>
              </a:tr>
              <a:tr h="43700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port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formance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torised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dividual </a:t>
                      </a: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port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km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110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110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86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106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76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74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6367043"/>
                  </a:ext>
                </a:extLst>
              </a:tr>
              <a:tr h="44491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port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formance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blic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port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CH" sz="12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km</a:t>
                      </a:r>
                      <a:r>
                        <a:rPr lang="de-CH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37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38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60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38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63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47 </a:t>
                      </a:r>
                      <a:r>
                        <a:rPr lang="de-CH" sz="1200" b="0" dirty="0" err="1">
                          <a:effectLst/>
                        </a:rPr>
                        <a:t>Bn</a:t>
                      </a:r>
                      <a:r>
                        <a:rPr lang="de-CH" sz="1200" b="0" dirty="0">
                          <a:effectLst/>
                        </a:rPr>
                        <a:t>.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452739"/>
                  </a:ext>
                </a:extLst>
              </a:tr>
              <a:tr h="4638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1" dirty="0">
                          <a:effectLst/>
                        </a:rPr>
                        <a:t>CO2 </a:t>
                      </a:r>
                      <a:r>
                        <a:rPr lang="de-CH" sz="1200" b="1" dirty="0" err="1">
                          <a:effectLst/>
                        </a:rPr>
                        <a:t>emissions</a:t>
                      </a:r>
                      <a:r>
                        <a:rPr lang="de-CH" sz="1200" b="1" dirty="0">
                          <a:effectLst/>
                        </a:rPr>
                        <a:t> in private</a:t>
                      </a:r>
                      <a:endParaRPr lang="de-CH" sz="1200" b="0" dirty="0">
                        <a:effectLst/>
                      </a:endParaRP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5.4 </a:t>
                      </a:r>
                      <a:br>
                        <a:rPr lang="de-CH" sz="1200" b="0">
                          <a:effectLst/>
                        </a:rPr>
                      </a:br>
                      <a:r>
                        <a:rPr lang="de-CH" sz="1200" b="0">
                          <a:effectLst/>
                        </a:rPr>
                        <a:t> 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3.9</a:t>
                      </a:r>
                      <a:br>
                        <a:rPr lang="de-CH" sz="1200" b="0" dirty="0">
                          <a:effectLst/>
                        </a:rPr>
                      </a:br>
                      <a:r>
                        <a:rPr lang="de-CH" sz="1200" b="0" dirty="0">
                          <a:effectLst/>
                        </a:rPr>
                        <a:t>(-28%)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4.0</a:t>
                      </a:r>
                      <a:br>
                        <a:rPr lang="de-CH" sz="1200" b="0" dirty="0">
                          <a:effectLst/>
                        </a:rPr>
                      </a:br>
                      <a:r>
                        <a:rPr lang="de-CH" sz="1200" b="0" dirty="0">
                          <a:effectLst/>
                        </a:rPr>
                        <a:t>(-25%)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2.7</a:t>
                      </a:r>
                      <a:br>
                        <a:rPr lang="de-CH" sz="1200" b="0" dirty="0">
                          <a:effectLst/>
                        </a:rPr>
                      </a:br>
                      <a:r>
                        <a:rPr lang="de-CH" sz="1200" b="0" dirty="0">
                          <a:effectLst/>
                        </a:rPr>
                        <a:t>(-50%)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1.1</a:t>
                      </a:r>
                      <a:br>
                        <a:rPr lang="de-CH" sz="1200" b="0">
                          <a:effectLst/>
                        </a:rPr>
                      </a:br>
                      <a:r>
                        <a:rPr lang="de-CH" sz="1200" b="0">
                          <a:effectLst/>
                        </a:rPr>
                        <a:t>(-79%)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0</a:t>
                      </a:r>
                      <a:br>
                        <a:rPr lang="de-CH" sz="1200" b="0" dirty="0">
                          <a:effectLst/>
                        </a:rPr>
                      </a:br>
                      <a:r>
                        <a:rPr lang="de-CH" sz="1200" b="0" dirty="0">
                          <a:effectLst/>
                        </a:rPr>
                        <a:t>(-100%)</a:t>
                      </a:r>
                    </a:p>
                  </a:txBody>
                  <a:tcPr marL="52776" marR="52776" marT="26387" marB="2638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837565"/>
                  </a:ext>
                </a:extLst>
              </a:tr>
              <a:tr h="30187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ual GDP 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ared to BAU</a:t>
                      </a:r>
                      <a:endParaRPr lang="de-CH" sz="12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 dirty="0">
                          <a:effectLst/>
                        </a:rPr>
                        <a:t>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-0.2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-0.2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-0.3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+0.2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592090"/>
                  </a:ext>
                </a:extLst>
              </a:tr>
              <a:tr h="30187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 dirty="0">
                          <a:effectLst/>
                        </a:rPr>
                        <a:t>Actual social welfare comp. BAU</a:t>
                      </a:r>
                      <a:endParaRPr lang="de-CH" sz="1200" b="1" dirty="0">
                        <a:effectLst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CH" sz="1200" b="0">
                          <a:effectLst/>
                        </a:rPr>
                        <a:t>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+0.7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>
                          <a:effectLst/>
                        </a:rPr>
                        <a:t>+0.3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+0.4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+1.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de-CH" sz="1200" b="0" dirty="0">
                          <a:effectLst/>
                        </a:rPr>
                        <a:t>+1.4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10971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8DC3B52-7EB5-BF00-65C3-EE0AC5D4CB3F}"/>
              </a:ext>
            </a:extLst>
          </p:cNvPr>
          <p:cNvSpPr txBox="1"/>
          <p:nvPr/>
        </p:nvSpPr>
        <p:spPr>
          <a:xfrm>
            <a:off x="479425" y="5877636"/>
            <a:ext cx="9914255" cy="1985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650"/>
              </a:lnSpc>
            </a:pPr>
            <a:r>
              <a:rPr lang="en-US" sz="1200" dirty="0">
                <a:solidFill>
                  <a:schemeClr val="bg1"/>
                </a:solidFill>
              </a:rPr>
              <a:t>Main results of the model analyses on emission reductions in passenger transport up to 2050</a:t>
            </a:r>
            <a:r>
              <a:rPr lang="de-CH" sz="1200" dirty="0">
                <a:solidFill>
                  <a:schemeClr val="bg1"/>
                </a:solidFill>
              </a:rPr>
              <a:t>. Source: </a:t>
            </a:r>
            <a:r>
              <a:rPr lang="de-CH" sz="12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 NFP 73</a:t>
            </a:r>
            <a:endParaRPr lang="de-CH" sz="1200" b="0" i="0" dirty="0">
              <a:solidFill>
                <a:schemeClr val="bg1"/>
              </a:solidFill>
              <a:effectLst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AFF2146-C8BA-1B9B-580B-2213307D9D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7473945"/>
              </p:ext>
            </p:extLst>
          </p:nvPr>
        </p:nvGraphicFramePr>
        <p:xfrm>
          <a:off x="9248158" y="2097652"/>
          <a:ext cx="2377107" cy="3766502"/>
        </p:xfrm>
        <a:graphic>
          <a:graphicData uri="http://schemas.openxmlformats.org/drawingml/2006/table">
            <a:tbl>
              <a:tblPr firstRow="1" bandRow="1">
                <a:tableStyleId>{CA20E951-F767-40FB-8981-BDCADE0C3650}</a:tableStyleId>
              </a:tblPr>
              <a:tblGrid>
                <a:gridCol w="793587">
                  <a:extLst>
                    <a:ext uri="{9D8B030D-6E8A-4147-A177-3AD203B41FA5}">
                      <a16:colId xmlns:a16="http://schemas.microsoft.com/office/drawing/2014/main" val="3452631033"/>
                    </a:ext>
                  </a:extLst>
                </a:gridCol>
                <a:gridCol w="1583520">
                  <a:extLst>
                    <a:ext uri="{9D8B030D-6E8A-4147-A177-3AD203B41FA5}">
                      <a16:colId xmlns:a16="http://schemas.microsoft.com/office/drawing/2014/main" val="2045886256"/>
                    </a:ext>
                  </a:extLst>
                </a:gridCol>
              </a:tblGrid>
              <a:tr h="2830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BAU</a:t>
                      </a:r>
                    </a:p>
                  </a:txBody>
                  <a:tcPr marL="36000" marR="0"/>
                </a:tc>
                <a:tc>
                  <a:txBody>
                    <a:bodyPr/>
                    <a:lstStyle/>
                    <a:p>
                      <a:r>
                        <a:rPr lang="de-CH" sz="1000" b="0" i="0" dirty="0">
                          <a:solidFill>
                            <a:schemeClr val="tx1"/>
                          </a:solidFill>
                          <a:effectLst/>
                        </a:rPr>
                        <a:t>Business </a:t>
                      </a:r>
                      <a:r>
                        <a:rPr lang="de-CH" sz="1000" b="0" i="0" dirty="0" err="1">
                          <a:solidFill>
                            <a:schemeClr val="tx1"/>
                          </a:solidFill>
                          <a:effectLst/>
                        </a:rPr>
                        <a:t>as</a:t>
                      </a:r>
                      <a:r>
                        <a:rPr lang="de-CH" sz="1000" b="0" i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de-CH" sz="1000" b="0" i="0" dirty="0" err="1">
                          <a:solidFill>
                            <a:schemeClr val="tx1"/>
                          </a:solidFill>
                          <a:effectLst/>
                        </a:rPr>
                        <a:t>usual</a:t>
                      </a:r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/>
                </a:tc>
                <a:extLst>
                  <a:ext uri="{0D108BD9-81ED-4DB2-BD59-A6C34878D82A}">
                    <a16:rowId xmlns:a16="http://schemas.microsoft.com/office/drawing/2014/main" val="4172642446"/>
                  </a:ext>
                </a:extLst>
              </a:tr>
              <a:tr h="245953">
                <a:tc>
                  <a:txBody>
                    <a:bodyPr/>
                    <a:lstStyle/>
                    <a:p>
                      <a:r>
                        <a:rPr lang="de-CH" sz="1000" b="1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CAPU</a:t>
                      </a:r>
                    </a:p>
                    <a:p>
                      <a:endParaRPr lang="de-CH" sz="1000" b="1" i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j-cs"/>
                      </a:endParaRPr>
                    </a:p>
                    <a:p>
                      <a:r>
                        <a:rPr lang="de-CH" sz="1000" b="1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SHIFT</a:t>
                      </a:r>
                    </a:p>
                  </a:txBody>
                  <a:tcPr marL="36000" marR="0"/>
                </a:tc>
                <a:tc>
                  <a:txBody>
                    <a:bodyPr/>
                    <a:lstStyle/>
                    <a:p>
                      <a:r>
                        <a:rPr lang="de-CH" sz="1000" b="0" i="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increase</a:t>
                      </a:r>
                      <a:r>
                        <a:rPr lang="de-CH" sz="1000" b="0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 </a:t>
                      </a:r>
                      <a:r>
                        <a:rPr lang="de-CH" sz="1000" b="0" i="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of</a:t>
                      </a:r>
                      <a:r>
                        <a:rPr lang="de-CH" sz="1000" b="0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 </a:t>
                      </a:r>
                      <a:r>
                        <a:rPr lang="de-CH" sz="1000" b="0" i="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capacity</a:t>
                      </a:r>
                      <a:r>
                        <a:rPr lang="de-CH" sz="1000" b="0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 </a:t>
                      </a:r>
                      <a:r>
                        <a:rPr lang="de-CH" sz="1000" b="0" i="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use</a:t>
                      </a:r>
                      <a:r>
                        <a:rPr lang="de-CH" sz="1000" b="0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,</a:t>
                      </a:r>
                    </a:p>
                    <a:p>
                      <a:endParaRPr lang="de-CH" sz="1000" b="0" i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j-cs"/>
                      </a:endParaRPr>
                    </a:p>
                    <a:p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j-cs"/>
                        </a:rPr>
                        <a:t>modal shift towards public transport</a:t>
                      </a:r>
                      <a:endParaRPr lang="de-CH" sz="1000" b="0" i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j-cs"/>
                      </a:endParaRPr>
                    </a:p>
                  </a:txBody>
                  <a:tcPr marL="0" marR="0"/>
                </a:tc>
                <a:extLst>
                  <a:ext uri="{0D108BD9-81ED-4DB2-BD59-A6C34878D82A}">
                    <a16:rowId xmlns:a16="http://schemas.microsoft.com/office/drawing/2014/main" val="2961488760"/>
                  </a:ext>
                </a:extLst>
              </a:tr>
              <a:tr h="394199">
                <a:tc>
                  <a:txBody>
                    <a:bodyPr/>
                    <a:lstStyle/>
                    <a:p>
                      <a:r>
                        <a:rPr lang="de-CH" sz="1000" b="1" i="0" dirty="0">
                          <a:solidFill>
                            <a:schemeClr val="tx1"/>
                          </a:solidFill>
                          <a:effectLst/>
                        </a:rPr>
                        <a:t>TECH</a:t>
                      </a:r>
                      <a:endParaRPr lang="de-CH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0"/>
                </a:tc>
                <a:tc>
                  <a:txBody>
                    <a:bodyPr/>
                    <a:lstStyle/>
                    <a:p>
                      <a:r>
                        <a:rPr lang="en-US" sz="1000" b="0" i="0" dirty="0">
                          <a:solidFill>
                            <a:schemeClr val="tx1"/>
                          </a:solidFill>
                          <a:effectLst/>
                        </a:rPr>
                        <a:t>improved fuel/engine technology and fostered diffusion of battery electric vehicle</a:t>
                      </a:r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/>
                </a:tc>
                <a:extLst>
                  <a:ext uri="{0D108BD9-81ED-4DB2-BD59-A6C34878D82A}">
                    <a16:rowId xmlns:a16="http://schemas.microsoft.com/office/drawing/2014/main" val="466541215"/>
                  </a:ext>
                </a:extLst>
              </a:tr>
              <a:tr h="616568">
                <a:tc>
                  <a:txBody>
                    <a:bodyPr/>
                    <a:lstStyle/>
                    <a:p>
                      <a:r>
                        <a:rPr lang="de-CH" sz="1000" b="1" i="0" dirty="0">
                          <a:solidFill>
                            <a:schemeClr val="tx1"/>
                          </a:solidFill>
                          <a:effectLst/>
                        </a:rPr>
                        <a:t>OPT1/</a:t>
                      </a:r>
                    </a:p>
                    <a:p>
                      <a:r>
                        <a:rPr lang="de-CH" sz="1000" b="1" i="0" dirty="0">
                          <a:solidFill>
                            <a:schemeClr val="tx1"/>
                          </a:solidFill>
                          <a:effectLst/>
                        </a:rPr>
                        <a:t>OPT2</a:t>
                      </a:r>
                      <a:endParaRPr lang="de-CH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0"/>
                </a:tc>
                <a:tc>
                  <a:txBody>
                    <a:bodyPr/>
                    <a:lstStyle/>
                    <a:p>
                      <a:r>
                        <a:rPr lang="en-US" sz="1000" b="0" i="0" dirty="0">
                          <a:effectLst/>
                        </a:rPr>
                        <a:t>optimal scenarios. OPT1 combines the specific approaches of the scenarios; OPT2 includes a ban of fossil fuels in              order to reach the CO2 target</a:t>
                      </a:r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/>
                </a:tc>
                <a:extLst>
                  <a:ext uri="{0D108BD9-81ED-4DB2-BD59-A6C34878D82A}">
                    <a16:rowId xmlns:a16="http://schemas.microsoft.com/office/drawing/2014/main" val="3706685682"/>
                  </a:ext>
                </a:extLst>
              </a:tr>
              <a:tr h="394199">
                <a:tc>
                  <a:txBody>
                    <a:bodyPr/>
                    <a:lstStyle/>
                    <a:p>
                      <a:r>
                        <a:rPr lang="de-CH" sz="1000" b="1" i="0" dirty="0">
                          <a:effectLst/>
                        </a:rPr>
                        <a:t>BEV      </a:t>
                      </a:r>
                      <a:endParaRPr lang="de-CH" sz="1000" b="1" dirty="0"/>
                    </a:p>
                  </a:txBody>
                  <a:tcPr marL="36000" marR="0"/>
                </a:tc>
                <a:tc>
                  <a:txBody>
                    <a:bodyPr/>
                    <a:lstStyle/>
                    <a:p>
                      <a:r>
                        <a:rPr lang="de-CH" sz="1000" b="0" i="0" dirty="0" err="1">
                          <a:effectLst/>
                        </a:rPr>
                        <a:t>Battery</a:t>
                      </a:r>
                      <a:r>
                        <a:rPr lang="de-CH" sz="1000" b="0" i="0" dirty="0">
                          <a:effectLst/>
                        </a:rPr>
                        <a:t> </a:t>
                      </a:r>
                      <a:r>
                        <a:rPr lang="de-CH" sz="1000" b="0" i="0" dirty="0" err="1">
                          <a:effectLst/>
                        </a:rPr>
                        <a:t>electric</a:t>
                      </a:r>
                      <a:r>
                        <a:rPr lang="de-CH" sz="1000" b="0" i="0" dirty="0">
                          <a:effectLst/>
                        </a:rPr>
                        <a:t> </a:t>
                      </a:r>
                      <a:r>
                        <a:rPr lang="de-CH" sz="1000" b="0" i="0" dirty="0" err="1">
                          <a:effectLst/>
                        </a:rPr>
                        <a:t>vehicles</a:t>
                      </a:r>
                      <a:endParaRPr lang="de-CH" sz="1000" dirty="0"/>
                    </a:p>
                  </a:txBody>
                  <a:tcPr marL="0" marR="0"/>
                </a:tc>
                <a:extLst>
                  <a:ext uri="{0D108BD9-81ED-4DB2-BD59-A6C34878D82A}">
                    <a16:rowId xmlns:a16="http://schemas.microsoft.com/office/drawing/2014/main" val="3683182382"/>
                  </a:ext>
                </a:extLst>
              </a:tr>
              <a:tr h="283015">
                <a:tc>
                  <a:txBody>
                    <a:bodyPr/>
                    <a:lstStyle/>
                    <a:p>
                      <a:r>
                        <a:rPr lang="de-CH" sz="1000" b="1" i="0" dirty="0" err="1">
                          <a:effectLst/>
                        </a:rPr>
                        <a:t>Pkm</a:t>
                      </a:r>
                      <a:r>
                        <a:rPr lang="de-CH" sz="1000" b="1" i="0" dirty="0">
                          <a:effectLst/>
                        </a:rPr>
                        <a:t>        </a:t>
                      </a:r>
                      <a:endParaRPr lang="de-CH" sz="1000" b="1" dirty="0"/>
                    </a:p>
                  </a:txBody>
                  <a:tcPr marL="36000" marR="0"/>
                </a:tc>
                <a:tc>
                  <a:txBody>
                    <a:bodyPr/>
                    <a:lstStyle/>
                    <a:p>
                      <a:r>
                        <a:rPr lang="de-CH" sz="10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ssenger </a:t>
                      </a:r>
                      <a:r>
                        <a:rPr lang="de-CH" sz="1000" b="0" i="0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lometres</a:t>
                      </a:r>
                      <a:endParaRPr lang="de-CH" sz="10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/>
                </a:tc>
                <a:extLst>
                  <a:ext uri="{0D108BD9-81ED-4DB2-BD59-A6C34878D82A}">
                    <a16:rowId xmlns:a16="http://schemas.microsoft.com/office/drawing/2014/main" val="919088596"/>
                  </a:ext>
                </a:extLst>
              </a:tr>
              <a:tr h="245953">
                <a:tc>
                  <a:txBody>
                    <a:bodyPr/>
                    <a:lstStyle/>
                    <a:p>
                      <a:r>
                        <a:rPr lang="de-CH" sz="1000" b="1" i="0" dirty="0">
                          <a:effectLst/>
                        </a:rPr>
                        <a:t>TWH  </a:t>
                      </a:r>
                      <a:endParaRPr lang="de-CH" sz="1000" b="1" dirty="0"/>
                    </a:p>
                  </a:txBody>
                  <a:tcPr marL="36000" marR="0"/>
                </a:tc>
                <a:tc>
                  <a:txBody>
                    <a:bodyPr/>
                    <a:lstStyle/>
                    <a:p>
                      <a:r>
                        <a:rPr lang="de-CH" sz="1000" dirty="0" err="1"/>
                        <a:t>terawatt</a:t>
                      </a:r>
                      <a:r>
                        <a:rPr lang="de-CH" sz="1000" dirty="0"/>
                        <a:t> </a:t>
                      </a:r>
                      <a:r>
                        <a:rPr lang="de-CH" sz="1000" dirty="0" err="1"/>
                        <a:t>hours</a:t>
                      </a:r>
                      <a:endParaRPr lang="de-CH" sz="1000" dirty="0"/>
                    </a:p>
                  </a:txBody>
                  <a:tcPr marL="0" marR="0"/>
                </a:tc>
                <a:extLst>
                  <a:ext uri="{0D108BD9-81ED-4DB2-BD59-A6C34878D82A}">
                    <a16:rowId xmlns:a16="http://schemas.microsoft.com/office/drawing/2014/main" val="38033637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30660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374FCA-C95A-8B35-75FE-CA1FD2533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inal </a:t>
            </a:r>
            <a:r>
              <a:rPr lang="de-CH" dirty="0" err="1"/>
              <a:t>Discussion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920B92-2D1F-BF6D-82B0-B2635C50A8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iscuss in pairs or small groups at the end:</a:t>
            </a:r>
          </a:p>
          <a:p>
            <a:r>
              <a:rPr lang="en-US" dirty="0"/>
              <a:t>What would I decide, as a decision-maker, to turn </a:t>
            </a:r>
            <a:r>
              <a:rPr lang="en-US" b="1" dirty="0"/>
              <a:t>my city </a:t>
            </a:r>
            <a:r>
              <a:rPr lang="en-US" dirty="0"/>
              <a:t>into a “post-fossil city”?</a:t>
            </a:r>
          </a:p>
          <a:p>
            <a:r>
              <a:rPr lang="en-US" dirty="0"/>
              <a:t>What do you think—will we reach the </a:t>
            </a:r>
            <a:r>
              <a:rPr lang="en-US" b="1" dirty="0"/>
              <a:t>net-zero goal by 2050</a:t>
            </a:r>
            <a:r>
              <a:rPr lang="en-US" dirty="0"/>
              <a:t>? Justify your assessment.</a:t>
            </a:r>
          </a:p>
          <a:p>
            <a:r>
              <a:rPr lang="en-US" dirty="0"/>
              <a:t>How can I personally contribute to achieving the net-zero goal through my </a:t>
            </a:r>
            <a:r>
              <a:rPr lang="en-US" b="1" dirty="0"/>
              <a:t>mobility</a:t>
            </a:r>
            <a:r>
              <a:rPr lang="en-US" dirty="0"/>
              <a:t> choices?</a:t>
            </a:r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140D89-D50F-2D0A-1FC2-9AA72B30A69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2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382885-ED17-380D-05A5-D5E665C863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9898823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CEDCD-DE5B-D060-6C03-CC7A1E1A7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ppendi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0FAD3B-608E-8487-C49C-4D493E6722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9F4BB0-6E62-9978-019D-9245C5C9E2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3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058973-BE94-6C33-CAC8-171B308BF3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2727228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D4C692-C4AE-9B18-53A3-7170A9E02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sources for in-depth study on the topic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3E1721-A07C-ED4A-8D78-5B7129364A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E0721B-83BD-44CD-54B8-FF8D21835BA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4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B35813-83D4-01C5-69CD-6825353FCF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9703337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CFFD2A-3290-0E0C-33BD-371696BE2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of the learning modul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B84C24E-A26E-1008-29AE-2AC4F56587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 eaLnBrk="0" fontAlgn="base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dirty="0" err="1">
                <a:latin typeface="Arial" panose="020B0604020202020204" pitchFamily="34" charset="0"/>
              </a:rPr>
              <a:t>Suitable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fo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use</a:t>
            </a:r>
            <a:r>
              <a:rPr lang="de-DE" altLang="de-DE" dirty="0">
                <a:latin typeface="Arial" panose="020B0604020202020204" pitchFamily="34" charset="0"/>
              </a:rPr>
              <a:t> in </a:t>
            </a:r>
            <a:r>
              <a:rPr lang="de-DE" altLang="de-DE" dirty="0" err="1">
                <a:latin typeface="Arial" panose="020B0604020202020204" pitchFamily="34" charset="0"/>
              </a:rPr>
              <a:t>Bachelor’s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degree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programmes</a:t>
            </a:r>
            <a:r>
              <a:rPr lang="de-DE" altLang="de-DE" dirty="0">
                <a:latin typeface="Arial" panose="020B0604020202020204" pitchFamily="34" charset="0"/>
              </a:rPr>
              <a:t> at Swiss </a:t>
            </a:r>
            <a:r>
              <a:rPr lang="de-DE" altLang="de-DE" dirty="0" err="1">
                <a:latin typeface="Arial" panose="020B0604020202020204" pitchFamily="34" charset="0"/>
              </a:rPr>
              <a:t>highe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education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institutions</a:t>
            </a:r>
            <a:endParaRPr lang="de-DE" altLang="de-DE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dirty="0">
                <a:latin typeface="Arial" panose="020B0604020202020204" pitchFamily="34" charset="0"/>
              </a:rPr>
              <a:t>Also </a:t>
            </a:r>
            <a:r>
              <a:rPr lang="de-DE" altLang="de-DE" dirty="0" err="1">
                <a:latin typeface="Arial" panose="020B0604020202020204" pitchFamily="34" charset="0"/>
              </a:rPr>
              <a:t>suitable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as</a:t>
            </a:r>
            <a:r>
              <a:rPr lang="de-DE" altLang="de-DE" dirty="0">
                <a:latin typeface="Arial" panose="020B0604020202020204" pitchFamily="34" charset="0"/>
              </a:rPr>
              <a:t> an </a:t>
            </a:r>
            <a:r>
              <a:rPr lang="de-DE" altLang="de-DE" dirty="0" err="1">
                <a:latin typeface="Arial" panose="020B0604020202020204" pitchFamily="34" charset="0"/>
              </a:rPr>
              <a:t>introduction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fo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Master’s</a:t>
            </a:r>
            <a:r>
              <a:rPr lang="de-DE" altLang="de-DE" dirty="0">
                <a:latin typeface="Arial" panose="020B0604020202020204" pitchFamily="34" charset="0"/>
              </a:rPr>
              <a:t> and </a:t>
            </a:r>
            <a:r>
              <a:rPr lang="de-DE" altLang="de-DE" dirty="0" err="1">
                <a:latin typeface="Arial" panose="020B0604020202020204" pitchFamily="34" charset="0"/>
              </a:rPr>
              <a:t>continuing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education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programmes</a:t>
            </a:r>
            <a:r>
              <a:rPr lang="de-DE" altLang="de-DE" dirty="0">
                <a:latin typeface="Arial" panose="020B0604020202020204" pitchFamily="34" charset="0"/>
              </a:rPr>
              <a:t> at Swiss </a:t>
            </a:r>
            <a:r>
              <a:rPr lang="de-DE" altLang="de-DE" dirty="0" err="1">
                <a:latin typeface="Arial" panose="020B0604020202020204" pitchFamily="34" charset="0"/>
              </a:rPr>
              <a:t>highe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education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institutions</a:t>
            </a:r>
            <a:endParaRPr lang="de-DE" altLang="de-DE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dirty="0" err="1">
                <a:latin typeface="Arial" panose="020B0604020202020204" pitchFamily="34" charset="0"/>
              </a:rPr>
              <a:t>Suitable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fo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self-study</a:t>
            </a:r>
            <a:r>
              <a:rPr lang="de-DE" altLang="de-DE" dirty="0">
                <a:latin typeface="Arial" panose="020B0604020202020204" pitchFamily="34" charset="0"/>
              </a:rPr>
              <a:t>; </a:t>
            </a:r>
            <a:r>
              <a:rPr lang="de-DE" altLang="de-DE" dirty="0" err="1">
                <a:latin typeface="Arial" panose="020B0604020202020204" pitchFamily="34" charset="0"/>
              </a:rPr>
              <a:t>can</a:t>
            </a:r>
            <a:r>
              <a:rPr lang="de-DE" altLang="de-DE" dirty="0">
                <a:latin typeface="Arial" panose="020B0604020202020204" pitchFamily="34" charset="0"/>
              </a:rPr>
              <a:t> also </a:t>
            </a:r>
            <a:r>
              <a:rPr lang="de-DE" altLang="de-DE" dirty="0" err="1">
                <a:latin typeface="Arial" panose="020B0604020202020204" pitchFamily="34" charset="0"/>
              </a:rPr>
              <a:t>be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used</a:t>
            </a:r>
            <a:r>
              <a:rPr lang="de-DE" altLang="de-DE" dirty="0">
                <a:latin typeface="Arial" panose="020B0604020202020204" pitchFamily="34" charset="0"/>
              </a:rPr>
              <a:t> in face-</a:t>
            </a:r>
            <a:r>
              <a:rPr lang="de-DE" altLang="de-DE" dirty="0" err="1">
                <a:latin typeface="Arial" panose="020B0604020202020204" pitchFamily="34" charset="0"/>
              </a:rPr>
              <a:t>to</a:t>
            </a:r>
            <a:r>
              <a:rPr lang="de-DE" altLang="de-DE" dirty="0">
                <a:latin typeface="Arial" panose="020B0604020202020204" pitchFamily="34" charset="0"/>
              </a:rPr>
              <a:t>-face </a:t>
            </a:r>
            <a:r>
              <a:rPr lang="de-DE" altLang="de-DE" dirty="0" err="1">
                <a:latin typeface="Arial" panose="020B0604020202020204" pitchFamily="34" charset="0"/>
              </a:rPr>
              <a:t>teaching</a:t>
            </a:r>
            <a:endParaRPr lang="de-DE" altLang="de-DE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altLang="de-DE" dirty="0" err="1">
                <a:latin typeface="Arial" panose="020B0604020202020204" pitchFamily="34" charset="0"/>
              </a:rPr>
              <a:t>Scope</a:t>
            </a:r>
            <a:r>
              <a:rPr lang="de-DE" altLang="de-DE" dirty="0">
                <a:latin typeface="Arial" panose="020B0604020202020204" pitchFamily="34" charset="0"/>
              </a:rPr>
              <a:t>: 3–4 </a:t>
            </a:r>
            <a:r>
              <a:rPr lang="de-DE" altLang="de-DE" dirty="0" err="1">
                <a:latin typeface="Arial" panose="020B0604020202020204" pitchFamily="34" charset="0"/>
              </a:rPr>
              <a:t>hours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of</a:t>
            </a:r>
            <a:r>
              <a:rPr lang="de-DE" altLang="de-DE" dirty="0">
                <a:latin typeface="Arial" panose="020B0604020202020204" pitchFamily="34" charset="0"/>
              </a:rPr>
              <a:t> learning time, </a:t>
            </a:r>
            <a:r>
              <a:rPr lang="de-DE" altLang="de-DE" dirty="0" err="1">
                <a:latin typeface="Arial" panose="020B0604020202020204" pitchFamily="34" charset="0"/>
              </a:rPr>
              <a:t>with</a:t>
            </a:r>
            <a:r>
              <a:rPr lang="de-DE" altLang="de-DE" dirty="0">
                <a:latin typeface="Arial" panose="020B0604020202020204" pitchFamily="34" charset="0"/>
              </a:rPr>
              <a:t> an additional 3–4 </a:t>
            </a:r>
            <a:r>
              <a:rPr lang="de-DE" altLang="de-DE" dirty="0" err="1">
                <a:latin typeface="Arial" panose="020B0604020202020204" pitchFamily="34" charset="0"/>
              </a:rPr>
              <a:t>hours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for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further</a:t>
            </a:r>
            <a:r>
              <a:rPr lang="de-DE" altLang="de-DE" dirty="0">
                <a:latin typeface="Arial" panose="020B0604020202020204" pitchFamily="34" charset="0"/>
              </a:rPr>
              <a:t> in-</a:t>
            </a:r>
            <a:r>
              <a:rPr lang="de-DE" altLang="de-DE" dirty="0" err="1">
                <a:latin typeface="Arial" panose="020B0604020202020204" pitchFamily="34" charset="0"/>
              </a:rPr>
              <a:t>depth</a:t>
            </a:r>
            <a:r>
              <a:rPr lang="de-DE" altLang="de-DE" dirty="0">
                <a:latin typeface="Arial" panose="020B0604020202020204" pitchFamily="34" charset="0"/>
              </a:rPr>
              <a:t> </a:t>
            </a:r>
            <a:r>
              <a:rPr lang="de-DE" altLang="de-DE" dirty="0" err="1">
                <a:latin typeface="Arial" panose="020B0604020202020204" pitchFamily="34" charset="0"/>
              </a:rPr>
              <a:t>study</a:t>
            </a:r>
            <a:endParaRPr lang="de-DE" altLang="de-DE" dirty="0"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70A889A-74C4-34F0-F5BE-EA831B7FCE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5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85D502-DD55-F03A-83BC-7024797663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8063165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F1DF01-7253-5EBE-A127-EEA0E1CB7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FP 73 Sustainable Economy: resource-efficient, future-oriented, innovative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7E1585-A18C-D362-EBDE-7964974C99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aim of NFP 73 is to generate scientific knowledge on a sustainable economy that uses natural resources sparingly, increases prosperity, and enhances the competitiveness of Switzerland as a business loca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Framework:</a:t>
            </a:r>
          </a:p>
          <a:p>
            <a:r>
              <a:rPr lang="en-US" dirty="0"/>
              <a:t>29 research projects in 9 priority areas</a:t>
            </a:r>
          </a:p>
          <a:p>
            <a:r>
              <a:rPr lang="en-US" dirty="0"/>
              <a:t>Duration: 2016–2023</a:t>
            </a:r>
          </a:p>
          <a:p>
            <a:r>
              <a:rPr lang="en-US" dirty="0"/>
              <a:t>Research period: 5 years</a:t>
            </a:r>
          </a:p>
          <a:p>
            <a:r>
              <a:rPr lang="en-US" dirty="0"/>
              <a:t>Funding volume: CHF 20,000,000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Acknowledgement:</a:t>
            </a:r>
            <a:br>
              <a:rPr lang="en-US" dirty="0"/>
            </a:br>
            <a:r>
              <a:rPr lang="en-US" dirty="0"/>
              <a:t>The development of this learning module was made possible by SNSF / NFP 73.</a:t>
            </a:r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496008-4DAD-5E05-98E4-317477F8D1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26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E3D8A9-7D80-96BD-094B-972A478159E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6311046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C2DDDD-ACAF-61EF-B64D-250214EF3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earning </a:t>
            </a:r>
            <a:r>
              <a:rPr lang="de-CH" dirty="0" err="1"/>
              <a:t>Objectives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55C2E-5172-48EC-D8E3-6C4AEC2D48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learner …</a:t>
            </a:r>
          </a:p>
          <a:p>
            <a:r>
              <a:rPr lang="en-US" dirty="0"/>
              <a:t>knows </a:t>
            </a:r>
            <a:r>
              <a:rPr lang="en-US" b="1" dirty="0"/>
              <a:t>the major challenges </a:t>
            </a:r>
            <a:r>
              <a:rPr lang="en-US" dirty="0"/>
              <a:t>facing cities and their mobility systems,</a:t>
            </a:r>
          </a:p>
          <a:p>
            <a:r>
              <a:rPr lang="en-US" dirty="0"/>
              <a:t>understands </a:t>
            </a:r>
            <a:r>
              <a:rPr lang="en-US" b="1" dirty="0"/>
              <a:t>approaches</a:t>
            </a:r>
            <a:r>
              <a:rPr lang="en-US" dirty="0"/>
              <a:t> and </a:t>
            </a:r>
            <a:r>
              <a:rPr lang="en-US" b="1" dirty="0"/>
              <a:t>measures </a:t>
            </a:r>
            <a:r>
              <a:rPr lang="en-US" dirty="0"/>
              <a:t>for more sustainable mobility,</a:t>
            </a:r>
          </a:p>
          <a:p>
            <a:r>
              <a:rPr lang="en-US" dirty="0"/>
              <a:t>knows how much different approaches and combinations of approaches contribute to achieving the </a:t>
            </a:r>
            <a:r>
              <a:rPr lang="en-US" b="1" dirty="0"/>
              <a:t>net-zero goal</a:t>
            </a:r>
            <a:r>
              <a:rPr lang="en-US" dirty="0"/>
              <a:t>, and</a:t>
            </a:r>
          </a:p>
          <a:p>
            <a:r>
              <a:rPr lang="en-US" dirty="0" err="1"/>
              <a:t>recognises</a:t>
            </a:r>
            <a:r>
              <a:rPr lang="en-US" dirty="0"/>
              <a:t> the potential of </a:t>
            </a:r>
            <a:r>
              <a:rPr lang="en-US" b="1" dirty="0"/>
              <a:t>serious games </a:t>
            </a:r>
            <a:r>
              <a:rPr lang="en-US" dirty="0"/>
              <a:t>for understanding sustainability strategies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D3ECE7-A518-AF04-11C1-583BC1E7AA0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4444AD-9323-FFE3-7A5A-933A50629F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2639580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98453-C997-95A2-1CE2-DB06558C9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ory</a:t>
            </a:r>
            <a:r>
              <a:rPr lang="de-CH" dirty="0"/>
              <a:t>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34C37-16BD-2DC0-EB07-DC15D0ECA4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Please try to answer the following questions using your prior knowledge and experience. Ideally, discuss your answers with a colleague:</a:t>
            </a:r>
          </a:p>
          <a:p>
            <a:r>
              <a:rPr lang="en-US" dirty="0"/>
              <a:t>How can </a:t>
            </a:r>
            <a:r>
              <a:rPr lang="en-US" b="1" dirty="0"/>
              <a:t>cities </a:t>
            </a:r>
            <a:r>
              <a:rPr lang="en-US" dirty="0"/>
              <a:t>become </a:t>
            </a:r>
            <a:r>
              <a:rPr lang="en-US" b="1" dirty="0"/>
              <a:t>more sustainable</a:t>
            </a:r>
            <a:r>
              <a:rPr lang="en-US" dirty="0"/>
              <a:t>?</a:t>
            </a:r>
          </a:p>
          <a:p>
            <a:r>
              <a:rPr lang="en-US" dirty="0"/>
              <a:t>How can cities become </a:t>
            </a:r>
            <a:r>
              <a:rPr lang="en-US" b="1" dirty="0"/>
              <a:t>“post-fossil cities”</a:t>
            </a:r>
            <a:r>
              <a:rPr lang="en-US" dirty="0"/>
              <a:t>?</a:t>
            </a:r>
          </a:p>
          <a:p>
            <a:r>
              <a:rPr lang="en-US" dirty="0"/>
              <a:t>Which approaches seem promising to me for achieving the </a:t>
            </a:r>
            <a:r>
              <a:rPr lang="en-US" b="1" dirty="0"/>
              <a:t>net-zero goal </a:t>
            </a:r>
            <a:r>
              <a:rPr lang="en-US" dirty="0"/>
              <a:t>in </a:t>
            </a:r>
            <a:r>
              <a:rPr lang="en-US" b="1" dirty="0"/>
              <a:t>passenger mobility</a:t>
            </a:r>
            <a:r>
              <a:rPr lang="en-US" dirty="0"/>
              <a:t>?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de-CH" dirty="0"/>
          </a:p>
          <a:p>
            <a:pPr>
              <a:buFont typeface="Wingdings" panose="05000000000000000000" pitchFamily="2" charset="2"/>
              <a:buChar char="Ø"/>
            </a:pPr>
            <a:endParaRPr lang="de-CH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Which sustainability goals are particularly relevant here, and what are they?</a:t>
            </a:r>
          </a:p>
          <a:p>
            <a:pPr>
              <a:buFont typeface="Wingdings" panose="05000000000000000000" pitchFamily="2" charset="2"/>
              <a:buChar char="Ø"/>
            </a:pPr>
            <a:endParaRPr lang="de-CH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34793C-DB90-07EA-7B4B-103C64FE443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3EBFF0-ABE3-9897-CEBC-1DB5F57EDF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39201610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3A953B-6A93-D5AC-34E4-BCFB6FEF7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to the United Nations Sustainable Development Goals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FC0D2C-56E5-017B-68F0-AF1B25CE6F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5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250FD-73CD-1BD1-5815-C525C4B0DD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D119413-D792-D22E-9B20-6D351679F6A2}"/>
              </a:ext>
            </a:extLst>
          </p:cNvPr>
          <p:cNvSpPr/>
          <p:nvPr/>
        </p:nvSpPr>
        <p:spPr>
          <a:xfrm>
            <a:off x="4814912" y="3068782"/>
            <a:ext cx="1650886" cy="105973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7567D-3D21-F2B5-A262-C68B78E9E9E1}"/>
              </a:ext>
            </a:extLst>
          </p:cNvPr>
          <p:cNvSpPr txBox="1"/>
          <p:nvPr/>
        </p:nvSpPr>
        <p:spPr>
          <a:xfrm>
            <a:off x="4968481" y="3279609"/>
            <a:ext cx="1351280" cy="634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de-CH" dirty="0"/>
              <a:t>Cities and Mobilit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991C9-988D-E539-C9B4-7210F2C01749}"/>
              </a:ext>
            </a:extLst>
          </p:cNvPr>
          <p:cNvCxnSpPr>
            <a:cxnSpLocks/>
          </p:cNvCxnSpPr>
          <p:nvPr/>
        </p:nvCxnSpPr>
        <p:spPr>
          <a:xfrm>
            <a:off x="6619367" y="3548470"/>
            <a:ext cx="104574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36EC816-5CB0-94E6-3439-ED5BEFBAEA9F}"/>
              </a:ext>
            </a:extLst>
          </p:cNvPr>
          <p:cNvCxnSpPr>
            <a:cxnSpLocks/>
          </p:cNvCxnSpPr>
          <p:nvPr/>
        </p:nvCxnSpPr>
        <p:spPr>
          <a:xfrm>
            <a:off x="5587170" y="2346011"/>
            <a:ext cx="0" cy="65632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8A525E-04BB-71A2-4ADD-0920D4E233FD}"/>
              </a:ext>
            </a:extLst>
          </p:cNvPr>
          <p:cNvCxnSpPr>
            <a:cxnSpLocks/>
          </p:cNvCxnSpPr>
          <p:nvPr/>
        </p:nvCxnSpPr>
        <p:spPr>
          <a:xfrm>
            <a:off x="3492347" y="3548470"/>
            <a:ext cx="117425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B417F77-67F8-781C-58CB-C9007B9D235D}"/>
              </a:ext>
            </a:extLst>
          </p:cNvPr>
          <p:cNvCxnSpPr>
            <a:cxnSpLocks/>
          </p:cNvCxnSpPr>
          <p:nvPr/>
        </p:nvCxnSpPr>
        <p:spPr>
          <a:xfrm flipH="1">
            <a:off x="4721559" y="4203200"/>
            <a:ext cx="678695" cy="73962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C202013-2488-28FF-9374-034E9A9BAB59}"/>
              </a:ext>
            </a:extLst>
          </p:cNvPr>
          <p:cNvCxnSpPr>
            <a:cxnSpLocks/>
          </p:cNvCxnSpPr>
          <p:nvPr/>
        </p:nvCxnSpPr>
        <p:spPr>
          <a:xfrm>
            <a:off x="6001075" y="4194965"/>
            <a:ext cx="719214" cy="74785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 descr="Sustainable Development Goal 9 - Wikipedia">
            <a:extLst>
              <a:ext uri="{FF2B5EF4-FFF2-40B4-BE49-F238E27FC236}">
                <a16:creationId xmlns:a16="http://schemas.microsoft.com/office/drawing/2014/main" id="{8614DA54-D27E-7F81-B258-0BD666D24B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9941" y="3002332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Sustainable Development Goal 13 - Wikipedia">
            <a:extLst>
              <a:ext uri="{FF2B5EF4-FFF2-40B4-BE49-F238E27FC236}">
                <a16:creationId xmlns:a16="http://schemas.microsoft.com/office/drawing/2014/main" id="{09965D1E-BF93-C5C7-2C28-9642215BF9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7997" y="5066432"/>
            <a:ext cx="994809" cy="994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SDG 7 - Plattform Agenda 2030">
            <a:extLst>
              <a:ext uri="{FF2B5EF4-FFF2-40B4-BE49-F238E27FC236}">
                <a16:creationId xmlns:a16="http://schemas.microsoft.com/office/drawing/2014/main" id="{90169E6D-2E44-ABAA-7058-6C8F6D0DAE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213" y="3108479"/>
            <a:ext cx="973853" cy="973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SDG 3 - Plattform Agenda 2030">
            <a:extLst>
              <a:ext uri="{FF2B5EF4-FFF2-40B4-BE49-F238E27FC236}">
                <a16:creationId xmlns:a16="http://schemas.microsoft.com/office/drawing/2014/main" id="{F6CC58FD-0337-7244-F895-B56F99606B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9666" y="5065429"/>
            <a:ext cx="989919" cy="989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ustainable Development Goals: Sustainable cities and communities – Key  Indicators Database – Asian Development Bank">
            <a:extLst>
              <a:ext uri="{FF2B5EF4-FFF2-40B4-BE49-F238E27FC236}">
                <a16:creationId xmlns:a16="http://schemas.microsoft.com/office/drawing/2014/main" id="{4448A1B9-801F-5980-AA2B-A354CA743F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3067" y="1297642"/>
            <a:ext cx="973683" cy="973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5642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007A2-46F9-EA65-CDA8-BBCD7F4BB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ory</a:t>
            </a:r>
            <a:r>
              <a:rPr lang="de-CH" dirty="0"/>
              <a:t>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BDD328-1C4A-DD6E-8EA3-64F054640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What does a </a:t>
            </a:r>
            <a:r>
              <a:rPr lang="en-US" b="1" dirty="0"/>
              <a:t>“push &amp; pull” mix of measures </a:t>
            </a:r>
            <a:r>
              <a:rPr lang="en-US" dirty="0"/>
              <a:t>in mobility mean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ow is </a:t>
            </a:r>
            <a:r>
              <a:rPr lang="en-US" b="1" dirty="0"/>
              <a:t>sustainable mobility policy </a:t>
            </a:r>
            <a:r>
              <a:rPr lang="en-US" dirty="0"/>
              <a:t>connected to </a:t>
            </a:r>
            <a:r>
              <a:rPr lang="en-US" b="1" dirty="0"/>
              <a:t>energy policy</a:t>
            </a:r>
            <a:r>
              <a:rPr lang="en-US" dirty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s </a:t>
            </a:r>
            <a:r>
              <a:rPr lang="en-US" b="1" dirty="0"/>
              <a:t>climate-neutral passenger mobility </a:t>
            </a:r>
            <a:r>
              <a:rPr lang="en-US" dirty="0"/>
              <a:t>possible </a:t>
            </a:r>
            <a:r>
              <a:rPr lang="en-US" b="1" dirty="0"/>
              <a:t>without a loss of prosperity</a:t>
            </a:r>
            <a:r>
              <a:rPr lang="en-US" dirty="0"/>
              <a:t>?</a:t>
            </a:r>
            <a:endParaRPr lang="de-CH" dirty="0"/>
          </a:p>
          <a:p>
            <a:endParaRPr lang="de-CH" dirty="0"/>
          </a:p>
          <a:p>
            <a:endParaRPr lang="de-CH" dirty="0"/>
          </a:p>
          <a:p>
            <a:pPr marL="0" indent="0">
              <a:lnSpc>
                <a:spcPct val="107000"/>
              </a:lnSpc>
              <a:spcAft>
                <a:spcPts val="400"/>
              </a:spcAft>
              <a:buNone/>
            </a:pPr>
            <a:r>
              <a:rPr lang="de-DE" b="1" dirty="0"/>
              <a:t>Source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knowledge</a:t>
            </a:r>
            <a:r>
              <a:rPr lang="de-DE" b="1" dirty="0"/>
              <a:t>:</a:t>
            </a:r>
            <a:endParaRPr lang="de-DE" kern="100" dirty="0">
              <a:ea typeface="Calibri" panose="020F0502020204030204" pitchFamily="34" charset="0"/>
              <a:cs typeface="Times New Roman" panose="02020603050405020304" pitchFamily="18" charset="0"/>
              <a:hlinkClick r:id="rId2"/>
            </a:endParaRPr>
          </a:p>
          <a:p>
            <a:pPr marL="0" indent="0">
              <a:buNone/>
            </a:pPr>
            <a:r>
              <a:rPr lang="de-CH" dirty="0">
                <a:hlinkClick r:id="rId3"/>
              </a:rPr>
              <a:t>Decarbonising </a:t>
            </a:r>
            <a:r>
              <a:rPr lang="de-CH" dirty="0" err="1">
                <a:hlinkClick r:id="rId3"/>
              </a:rPr>
              <a:t>the</a:t>
            </a:r>
            <a:r>
              <a:rPr lang="de-CH" dirty="0">
                <a:hlinkClick r:id="rId3"/>
              </a:rPr>
              <a:t> </a:t>
            </a:r>
            <a:r>
              <a:rPr lang="de-CH" dirty="0" err="1">
                <a:hlinkClick r:id="rId3"/>
              </a:rPr>
              <a:t>transport</a:t>
            </a:r>
            <a:r>
              <a:rPr lang="de-CH" dirty="0">
                <a:hlinkClick r:id="rId3"/>
              </a:rPr>
              <a:t> </a:t>
            </a:r>
            <a:r>
              <a:rPr lang="de-CH" dirty="0" err="1">
                <a:hlinkClick r:id="rId3"/>
              </a:rPr>
              <a:t>sector</a:t>
            </a:r>
            <a:r>
              <a:rPr lang="de-CH" dirty="0">
                <a:hlinkClick r:id="rId3"/>
              </a:rPr>
              <a:t> (Policy Brief)</a:t>
            </a:r>
            <a:endParaRPr lang="de-CH" dirty="0"/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CC2A20-2057-8B4B-5D65-28676709471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AD0755-CDBD-5076-9930-4CBF2FAE30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3582358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DADF5-A384-E805-D55F-2EAF627D0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Research Projec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6A02F9-5689-F798-E8F4-24F2AFE22E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08163"/>
            <a:ext cx="4572000" cy="421322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 this focus area, there were two research projects:</a:t>
            </a:r>
          </a:p>
          <a:p>
            <a:r>
              <a:rPr lang="en-US" dirty="0"/>
              <a:t>Post-fossil cities</a:t>
            </a:r>
          </a:p>
          <a:p>
            <a:r>
              <a:rPr lang="en-US" dirty="0"/>
              <a:t>Climate-neutral mobility without economic losses</a:t>
            </a:r>
          </a:p>
          <a:p>
            <a:endParaRPr lang="de-CH" b="1" i="0" dirty="0">
              <a:solidFill>
                <a:srgbClr val="F59C0E"/>
              </a:solidFill>
              <a:effectLst/>
              <a:latin typeface="Open Sans" panose="020B0606030504020204" pitchFamily="34" charset="0"/>
            </a:endParaRPr>
          </a:p>
          <a:p>
            <a:endParaRPr lang="de-CH" b="1" i="0" dirty="0">
              <a:solidFill>
                <a:srgbClr val="F59C0E"/>
              </a:solidFill>
              <a:effectLst/>
              <a:latin typeface="Open Sans" panose="020B0606030504020204" pitchFamily="34" charset="0"/>
            </a:endParaRPr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35D6DF-0290-859A-4D7B-96B69FD20E3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70217-1BC1-C4DF-3DCE-06D3D5E4F5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7E4C899B-FF3D-1D8F-2634-4E5F8A8FD1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613" y="1808163"/>
            <a:ext cx="6314961" cy="4213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11839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D0F9A-EF92-E67A-7DE9-06859EB20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044575"/>
          </a:xfrm>
        </p:spPr>
        <p:txBody>
          <a:bodyPr anchor="t">
            <a:normAutofit/>
          </a:bodyPr>
          <a:lstStyle/>
          <a:p>
            <a:r>
              <a:rPr lang="de-CH" dirty="0"/>
              <a:t>Post-fossil </a:t>
            </a:r>
            <a:r>
              <a:rPr lang="de-CH" dirty="0" err="1"/>
              <a:t>cities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EC2812-1438-09C8-B7AC-452C8E3708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1808163"/>
            <a:ext cx="4833979" cy="4213225"/>
          </a:xfrm>
        </p:spPr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de-CH" dirty="0"/>
              <a:t>«</a:t>
            </a:r>
            <a:r>
              <a:rPr lang="en-US" dirty="0"/>
              <a:t>The </a:t>
            </a:r>
            <a:r>
              <a:rPr lang="en-US" b="1" dirty="0"/>
              <a:t>simulation game </a:t>
            </a:r>
            <a:r>
              <a:rPr lang="en-US" dirty="0"/>
              <a:t>“</a:t>
            </a:r>
            <a:r>
              <a:rPr lang="en-US" dirty="0" err="1"/>
              <a:t>postfossilCities</a:t>
            </a:r>
            <a:r>
              <a:rPr lang="en-US" dirty="0"/>
              <a:t>” provides an experimental space for </a:t>
            </a:r>
            <a:r>
              <a:rPr lang="en-US" b="1" dirty="0"/>
              <a:t>exploring the transformation </a:t>
            </a:r>
            <a:r>
              <a:rPr lang="en-US" dirty="0"/>
              <a:t>toward </a:t>
            </a:r>
            <a:r>
              <a:rPr lang="en-US" b="1" dirty="0"/>
              <a:t>climate-neutral</a:t>
            </a:r>
            <a:r>
              <a:rPr lang="en-US" dirty="0"/>
              <a:t>, post-fossil cities. The game is aimed especially at current and future decision-makers, but is suitable for anyone interested. </a:t>
            </a:r>
            <a:r>
              <a:rPr lang="en-US" dirty="0" err="1"/>
              <a:t>postfossilCities</a:t>
            </a:r>
            <a:r>
              <a:rPr lang="en-US" dirty="0"/>
              <a:t> can be played in facilitated workshops that are held either in person or virtually</a:t>
            </a:r>
            <a:r>
              <a:rPr lang="de-CH" dirty="0"/>
              <a:t>.»</a:t>
            </a:r>
          </a:p>
          <a:p>
            <a:pPr algn="r">
              <a:spcAft>
                <a:spcPts val="600"/>
              </a:spcAft>
            </a:pPr>
            <a:r>
              <a:rPr lang="de-CH" dirty="0"/>
              <a:t>Dr. Patrick Wäger, Project </a:t>
            </a:r>
            <a:r>
              <a:rPr lang="de-CH" dirty="0" err="1"/>
              <a:t>lead</a:t>
            </a:r>
            <a:r>
              <a:rPr lang="de-CH" dirty="0"/>
              <a:t>, Post-fossil </a:t>
            </a:r>
            <a:r>
              <a:rPr lang="de-CH" dirty="0" err="1"/>
              <a:t>cities</a:t>
            </a:r>
            <a:endParaRPr lang="de-CH" dirty="0"/>
          </a:p>
          <a:p>
            <a:pPr algn="r">
              <a:spcAft>
                <a:spcPts val="600"/>
              </a:spcAft>
            </a:pP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84F962-2DAE-FFAB-07BC-21D71441F6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256589" y="6478264"/>
            <a:ext cx="3455986" cy="180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476BE59D-4918-439E-9CBF-5840B2847889}" type="slidenum">
              <a:rPr lang="de-CH" smtClean="0"/>
              <a:pPr>
                <a:spcAft>
                  <a:spcPts val="600"/>
                </a:spcAft>
              </a:pPr>
              <a:t>8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04C794-D213-7E6E-3E65-83C8D4C8722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525555" y="6385781"/>
            <a:ext cx="4114800" cy="252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  <p:pic>
        <p:nvPicPr>
          <p:cNvPr id="7" name="Picture 6" descr="A person sitting on a stone surface&#10;&#10;AI-generated content may be incorrect.">
            <a:extLst>
              <a:ext uri="{FF2B5EF4-FFF2-40B4-BE49-F238E27FC236}">
                <a16:creationId xmlns:a16="http://schemas.microsoft.com/office/drawing/2014/main" id="{75D9CF98-DC69-F1FB-E570-01E7E6140F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2" r="1" b="1"/>
          <a:stretch>
            <a:fillRect/>
          </a:stretch>
        </p:blipFill>
        <p:spPr>
          <a:xfrm>
            <a:off x="5832478" y="1808163"/>
            <a:ext cx="5880097" cy="42132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445921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E9D8BB2-BB7D-33E5-C12C-053D5469D9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59987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9D8BB2-BB7D-33E5-C12C-053D5469D9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63B92A-A274-391A-3FA1-29D1D7D94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Post-fossil </a:t>
            </a:r>
            <a:r>
              <a:rPr lang="de-CH" dirty="0" err="1"/>
              <a:t>cities</a:t>
            </a:r>
            <a:r>
              <a:rPr lang="de-CH" dirty="0"/>
              <a:t> – </a:t>
            </a:r>
            <a:r>
              <a:rPr lang="de-CH" dirty="0" err="1"/>
              <a:t>Assignments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F2B0C8-6B5B-7939-A1A3-AD9A0F6A3A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What does </a:t>
            </a:r>
            <a:r>
              <a:rPr lang="en-US" b="1" dirty="0"/>
              <a:t>“post-fossil cities” </a:t>
            </a:r>
            <a:r>
              <a:rPr lang="en-US" dirty="0"/>
              <a:t>mean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are the </a:t>
            </a:r>
            <a:r>
              <a:rPr lang="en-US" b="1" dirty="0"/>
              <a:t>goals</a:t>
            </a:r>
            <a:r>
              <a:rPr lang="en-US" dirty="0"/>
              <a:t> of </a:t>
            </a:r>
            <a:r>
              <a:rPr lang="en-US" b="1" dirty="0"/>
              <a:t>simulation games </a:t>
            </a:r>
            <a:r>
              <a:rPr lang="en-US" dirty="0"/>
              <a:t>such as “Post-fossil Cities”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ich </a:t>
            </a:r>
            <a:r>
              <a:rPr lang="en-US" b="1" dirty="0"/>
              <a:t>aspects</a:t>
            </a:r>
            <a:r>
              <a:rPr lang="en-US" dirty="0"/>
              <a:t> should one pay particular attention to when playing?</a:t>
            </a:r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pPr marL="0" indent="0">
              <a:buNone/>
            </a:pPr>
            <a:endParaRPr lang="de-CH" sz="1600" dirty="0"/>
          </a:p>
          <a:p>
            <a:pPr marL="0" indent="0">
              <a:buNone/>
            </a:pPr>
            <a:endParaRPr lang="de-CH" sz="1600" dirty="0"/>
          </a:p>
          <a:p>
            <a:pPr marL="0" indent="0">
              <a:buNone/>
            </a:pPr>
            <a:r>
              <a:rPr lang="de-CH" sz="1600" b="1" dirty="0"/>
              <a:t>Sources </a:t>
            </a:r>
            <a:r>
              <a:rPr lang="de-CH" sz="1600" b="1" dirty="0" err="1"/>
              <a:t>of</a:t>
            </a:r>
            <a:r>
              <a:rPr lang="de-CH" sz="1600" b="1" dirty="0"/>
              <a:t> </a:t>
            </a:r>
            <a:r>
              <a:rPr lang="de-CH" sz="1600" b="1" dirty="0" err="1"/>
              <a:t>knowledge</a:t>
            </a:r>
            <a:r>
              <a:rPr lang="de-CH" sz="1600" b="1" dirty="0"/>
              <a:t>:</a:t>
            </a:r>
          </a:p>
          <a:p>
            <a:pPr marL="0" indent="0">
              <a:buNone/>
            </a:pPr>
            <a:r>
              <a:rPr lang="de-CH" sz="1600" dirty="0">
                <a:hlinkClick r:id="rId5"/>
              </a:rPr>
              <a:t>Post fossil </a:t>
            </a:r>
            <a:r>
              <a:rPr lang="de-CH" sz="1600" dirty="0" err="1">
                <a:hlinkClick r:id="rId5"/>
              </a:rPr>
              <a:t>cities</a:t>
            </a:r>
            <a:r>
              <a:rPr lang="de-CH" sz="1600" dirty="0">
                <a:hlinkClick r:id="rId5"/>
              </a:rPr>
              <a:t> (</a:t>
            </a:r>
            <a:r>
              <a:rPr lang="de-CH" sz="1600" dirty="0" err="1">
                <a:hlinkClick r:id="rId5"/>
              </a:rPr>
              <a:t>scientific</a:t>
            </a:r>
            <a:r>
              <a:rPr lang="de-CH" sz="1600" dirty="0">
                <a:hlinkClick r:id="rId5"/>
              </a:rPr>
              <a:t> </a:t>
            </a:r>
            <a:r>
              <a:rPr lang="de-CH" sz="1600" dirty="0" err="1">
                <a:hlinkClick r:id="rId5"/>
              </a:rPr>
              <a:t>lecture</a:t>
            </a:r>
            <a:r>
              <a:rPr lang="de-CH" sz="1600" dirty="0">
                <a:hlinkClick r:id="rId5"/>
              </a:rPr>
              <a:t>, 7:25)</a:t>
            </a:r>
            <a:endParaRPr lang="de-CH" sz="1600" dirty="0"/>
          </a:p>
          <a:p>
            <a:pPr marL="0" indent="0">
              <a:buNone/>
            </a:pPr>
            <a:r>
              <a:rPr lang="de-CH" sz="1600" dirty="0">
                <a:hlinkClick r:id="rId6"/>
              </a:rPr>
              <a:t>The “</a:t>
            </a:r>
            <a:r>
              <a:rPr lang="de-CH" sz="1600" dirty="0" err="1">
                <a:hlinkClick r:id="rId6"/>
              </a:rPr>
              <a:t>postfossilCities</a:t>
            </a:r>
            <a:r>
              <a:rPr lang="de-CH" sz="1600" dirty="0">
                <a:hlinkClick r:id="rId6"/>
              </a:rPr>
              <a:t>” </a:t>
            </a:r>
            <a:r>
              <a:rPr lang="de-CH" sz="1600" dirty="0" err="1">
                <a:hlinkClick r:id="rId6"/>
              </a:rPr>
              <a:t>simulation</a:t>
            </a:r>
            <a:r>
              <a:rPr lang="de-CH" sz="1600" dirty="0">
                <a:hlinkClick r:id="rId6"/>
              </a:rPr>
              <a:t> game</a:t>
            </a:r>
            <a:endParaRPr lang="de-CH" sz="1600" dirty="0"/>
          </a:p>
          <a:p>
            <a:pPr marL="0" indent="0">
              <a:buNone/>
            </a:pPr>
            <a:r>
              <a:rPr lang="de-CH" sz="1600" dirty="0">
                <a:hlinkClick r:id="rId7"/>
              </a:rPr>
              <a:t>Project </a:t>
            </a:r>
            <a:r>
              <a:rPr lang="de-CH" sz="1600" dirty="0" err="1">
                <a:hlinkClick r:id="rId7"/>
              </a:rPr>
              <a:t>website</a:t>
            </a:r>
            <a:r>
              <a:rPr lang="de-CH" sz="1600" dirty="0">
                <a:hlinkClick r:id="rId7"/>
              </a:rPr>
              <a:t> Empa</a:t>
            </a:r>
            <a:endParaRPr lang="de-CH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43B2C4-26EE-2311-4F58-972E4DAC904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BE59D-4918-439E-9CBF-5840B2847889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62475-C75C-C10F-830F-21D6A6AF85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 dirty="0"/>
              <a:t>NFP 73 – </a:t>
            </a:r>
            <a:r>
              <a:rPr lang="de-CH" dirty="0" err="1"/>
              <a:t>Sustainable</a:t>
            </a:r>
            <a:r>
              <a:rPr lang="de-CH" dirty="0"/>
              <a:t> Economy</a:t>
            </a:r>
          </a:p>
        </p:txBody>
      </p:sp>
    </p:spTree>
    <p:extLst>
      <p:ext uri="{BB962C8B-B14F-4D97-AF65-F5344CB8AC3E}">
        <p14:creationId xmlns:p14="http://schemas.microsoft.com/office/powerpoint/2010/main" val="13523386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NF">
  <a:themeElements>
    <a:clrScheme name="SNF">
      <a:dk1>
        <a:srgbClr val="000000"/>
      </a:dk1>
      <a:lt1>
        <a:srgbClr val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20000"/>
          </a:lnSpc>
          <a:defRPr dirty="0" smtClean="0"/>
        </a:defPPr>
      </a:lstStyle>
    </a:txDef>
  </a:objectDefaults>
  <a:extraClrSchemeLst>
    <a:extraClrScheme>
      <a:clrScheme name="SNF">
        <a:dk1>
          <a:srgbClr val="000000"/>
        </a:dk1>
        <a:lt1>
          <a:srgbClr val="FFFFFF"/>
        </a:lt1>
        <a:dk2>
          <a:srgbClr val="83D0F5"/>
        </a:dk2>
        <a:lt2>
          <a:srgbClr val="5298BD"/>
        </a:lt2>
        <a:accent1>
          <a:srgbClr val="C95B40"/>
        </a:accent1>
        <a:accent2>
          <a:srgbClr val="F08262"/>
        </a:accent2>
        <a:accent3>
          <a:srgbClr val="FBBE5E"/>
        </a:accent3>
        <a:accent4>
          <a:srgbClr val="71B294"/>
        </a:accent4>
        <a:accent5>
          <a:srgbClr val="9D90B9"/>
        </a:accent5>
        <a:accent6>
          <a:srgbClr val="B2B1A7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Weiss">
      <a:srgbClr val="FFFFFF"/>
    </a:custClr>
    <a:custClr name="SNF Schwarzblau">
      <a:srgbClr val="04293C"/>
    </a:custClr>
    <a:custClr name="SNF Dunkelblau">
      <a:srgbClr val="5298BD"/>
    </a:custClr>
    <a:custClr name="SNF Hellblau">
      <a:srgbClr val="83D0F5"/>
    </a:custClr>
    <a:custClr name="SNF Dunkelrot">
      <a:srgbClr val="C95B40"/>
    </a:custClr>
    <a:custClr name="SNF Hellrot">
      <a:srgbClr val="F08262"/>
    </a:custClr>
    <a:custClr name="SNF Gelb">
      <a:srgbClr val="FBBE5E"/>
    </a:custClr>
    <a:custClr name="SNF Grün">
      <a:srgbClr val="71B294"/>
    </a:custClr>
    <a:custClr name="SNF Violett">
      <a:srgbClr val="9D90B9"/>
    </a:custClr>
    <a:custClr name="SNF Grau">
      <a:srgbClr val="B2B1A7"/>
    </a:custClr>
  </a:custClrLst>
  <a:extLst>
    <a:ext uri="{05A4C25C-085E-4340-85A3-A5531E510DB2}">
      <thm15:themeFamily xmlns:thm15="http://schemas.microsoft.com/office/thememl/2012/main" name="NFP73_folien_vorlagen_2021_de.potx" id="{658E94AB-922E-4045-B442-3A02FCF70815}" vid="{42DF5E09-0D41-4D42-A8AD-88E391FDEF52}"/>
    </a:ext>
  </a:extLst>
</a:theme>
</file>

<file path=ppt/theme/theme2.xml><?xml version="1.0" encoding="utf-8"?>
<a:theme xmlns:a="http://schemas.openxmlformats.org/drawingml/2006/main" name="Office">
  <a:themeElements>
    <a:clrScheme name="SNF_Farben_v2021-09-15">
      <a:dk1>
        <a:sysClr val="windowText" lastClr="000000"/>
      </a:dk1>
      <a:lt1>
        <a:sysClr val="window" lastClr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NF_Farben_v2021-09-15">
      <a:dk1>
        <a:sysClr val="windowText" lastClr="000000"/>
      </a:dk1>
      <a:lt1>
        <a:sysClr val="window" lastClr="FFFFFF"/>
      </a:lt1>
      <a:dk2>
        <a:srgbClr val="83D0F5"/>
      </a:dk2>
      <a:lt2>
        <a:srgbClr val="5298BD"/>
      </a:lt2>
      <a:accent1>
        <a:srgbClr val="C95B40"/>
      </a:accent1>
      <a:accent2>
        <a:srgbClr val="F08262"/>
      </a:accent2>
      <a:accent3>
        <a:srgbClr val="FBBE5E"/>
      </a:accent3>
      <a:accent4>
        <a:srgbClr val="71B294"/>
      </a:accent4>
      <a:accent5>
        <a:srgbClr val="9D90B9"/>
      </a:accent5>
      <a:accent6>
        <a:srgbClr val="B2B1A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7cc7ebd-2fa7-4938-8178-e67a6f6112bd">WZVNYKYN7P7J-158801308-1433</_dlc_DocId>
    <_dlc_DocIdUrl xmlns="a7cc7ebd-2fa7-4938-8178-e67a6f6112bd">
      <Url>https://snsf.sharepoint.com/sites/NRP73neu-KnowledgeTransfer/_layouts/15/DocIdRedir.aspx?ID=WZVNYKYN7P7J-158801308-1433</Url>
      <Description>WZVNYKYN7P7J-158801308-1433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6B0D291165D54DB7F071D33294AA37" ma:contentTypeVersion="14" ma:contentTypeDescription="Crée un document." ma:contentTypeScope="" ma:versionID="a1b3f79919d50a80ce932c6056061d59">
  <xsd:schema xmlns:xsd="http://www.w3.org/2001/XMLSchema" xmlns:xs="http://www.w3.org/2001/XMLSchema" xmlns:p="http://schemas.microsoft.com/office/2006/metadata/properties" xmlns:ns2="b29bbfd8-b7a5-4cdd-94f7-16e12e21a51b" xmlns:ns3="a7cc7ebd-2fa7-4938-8178-e67a6f6112bd" targetNamespace="http://schemas.microsoft.com/office/2006/metadata/properties" ma:root="true" ma:fieldsID="cac05d2855ae32f465a69e4914af9f93" ns2:_="" ns3:_="">
    <xsd:import namespace="b29bbfd8-b7a5-4cdd-94f7-16e12e21a51b"/>
    <xsd:import namespace="a7cc7ebd-2fa7-4938-8178-e67a6f6112b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3:_dlc_DocId" minOccurs="0"/>
                <xsd:element ref="ns3:_dlc_DocIdUrl" minOccurs="0"/>
                <xsd:element ref="ns3:_dlc_DocIdPersistId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9bbfd8-b7a5-4cdd-94f7-16e12e21a51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cc7ebd-2fa7-4938-8178-e67a6f6112b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21" nillable="true" ma:displayName="Valeur d’ID de document" ma:description="Valeur de l’ID de document affecté à cet élément." ma:indexed="true" ma:internalName="_dlc_DocId" ma:readOnly="true">
      <xsd:simpleType>
        <xsd:restriction base="dms:Text"/>
      </xsd:simpleType>
    </xsd:element>
    <xsd:element name="_dlc_DocIdUrl" ma:index="22" nillable="true" ma:displayName="ID de document" ma:description="Lien permanent vers ce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3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045CE4D-432F-4A66-B675-4B9C170F31CF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BCA66F1D-A320-4135-A5A1-3FB2B20DFA1B}">
  <ds:schemaRefs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2006/metadata/properties"/>
    <ds:schemaRef ds:uri="http://schemas.microsoft.com/office/2006/documentManagement/types"/>
    <ds:schemaRef ds:uri="a7cc7ebd-2fa7-4938-8178-e67a6f6112bd"/>
    <ds:schemaRef ds:uri="b29bbfd8-b7a5-4cdd-94f7-16e12e21a51b"/>
    <ds:schemaRef ds:uri="http://schemas.microsoft.com/office/infopath/2007/PartnerControls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19C1BB8-243C-4CA7-95D4-91192256208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974E597-8663-486D-B589-E14D40C43E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29bbfd8-b7a5-4cdd-94f7-16e12e21a51b"/>
    <ds:schemaRef ds:uri="a7cc7ebd-2fa7-4938-8178-e67a6f6112b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FP73_folien_vorlagen_2021_de</Template>
  <TotalTime>0</TotalTime>
  <Words>2517</Words>
  <Application>Microsoft Office PowerPoint</Application>
  <PresentationFormat>Widescreen</PresentationFormat>
  <Paragraphs>273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Calibri</vt:lpstr>
      <vt:lpstr>Open Sans</vt:lpstr>
      <vt:lpstr>Times</vt:lpstr>
      <vt:lpstr>Wingdings</vt:lpstr>
      <vt:lpstr>SNF</vt:lpstr>
      <vt:lpstr>think-cell Slide</vt:lpstr>
      <vt:lpstr>Cities and Mobility</vt:lpstr>
      <vt:lpstr>Focus Cities and Mobility </vt:lpstr>
      <vt:lpstr>Learning Objectives</vt:lpstr>
      <vt:lpstr>Introductory Questions</vt:lpstr>
      <vt:lpstr>Links to the United Nations Sustainable Development Goals</vt:lpstr>
      <vt:lpstr>Introductory Questions</vt:lpstr>
      <vt:lpstr>Overview of Research Projects</vt:lpstr>
      <vt:lpstr>Post-fossil cities</vt:lpstr>
      <vt:lpstr>Post-fossil cities – Assignments</vt:lpstr>
      <vt:lpstr>Post-fossil cities – Background</vt:lpstr>
      <vt:lpstr>Post-fossil cities – Aim</vt:lpstr>
      <vt:lpstr>Post-fossil cities – Results I</vt:lpstr>
      <vt:lpstr>Post-fossil cities – Results II</vt:lpstr>
      <vt:lpstr>Post-fossil cities – Results III</vt:lpstr>
      <vt:lpstr>Decarbonisation of the transport sector</vt:lpstr>
      <vt:lpstr>Decarbonisation of the transport sector – Assignments</vt:lpstr>
      <vt:lpstr>Decarbonisation of the transport sector – Background</vt:lpstr>
      <vt:lpstr>Decarbonisation of the transport sector – Aim</vt:lpstr>
      <vt:lpstr>Decarbonisation of the transport sector – Results I</vt:lpstr>
      <vt:lpstr>Decarbonisation of the transport sector – Results II</vt:lpstr>
      <vt:lpstr>Decarbonisation of the transport sector– Results III</vt:lpstr>
      <vt:lpstr>Final Discussion</vt:lpstr>
      <vt:lpstr>Appendix</vt:lpstr>
      <vt:lpstr>Further sources for in-depth study on the topic</vt:lpstr>
      <vt:lpstr>Use of the learning module</vt:lpstr>
      <vt:lpstr>NFP 73 Sustainable Economy: resource-efficient, future-oriented, innovative</vt:lpstr>
    </vt:vector>
  </TitlesOfParts>
  <Company>Schweizerischer Nationalfond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­PRÄSENTATION AUF EINER ODER AUCH AUF ZWEI ZEILEN</dc:title>
  <dc:creator>Walther Pascal</dc:creator>
  <cp:lastModifiedBy>Mascha Theiler</cp:lastModifiedBy>
  <cp:revision>61</cp:revision>
  <dcterms:created xsi:type="dcterms:W3CDTF">2022-05-16T14:25:03Z</dcterms:created>
  <dcterms:modified xsi:type="dcterms:W3CDTF">2026-02-09T16:2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6B0D291165D54DB7F071D33294AA37</vt:lpwstr>
  </property>
  <property fmtid="{D5CDD505-2E9C-101B-9397-08002B2CF9AE}" pid="3" name="_dlc_DocIdItemGuid">
    <vt:lpwstr>ceaaf26c-5ebf-445f-a12c-2db47082dad7</vt:lpwstr>
  </property>
</Properties>
</file>